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2" r:id="rId1"/>
    <p:sldMasterId id="2147483851" r:id="rId2"/>
  </p:sldMasterIdLst>
  <p:notesMasterIdLst>
    <p:notesMasterId r:id="rId20"/>
  </p:notesMasterIdLst>
  <p:handoutMasterIdLst>
    <p:handoutMasterId r:id="rId21"/>
  </p:handoutMasterIdLst>
  <p:sldIdLst>
    <p:sldId id="2147377859" r:id="rId3"/>
    <p:sldId id="2147377879" r:id="rId4"/>
    <p:sldId id="2147377868" r:id="rId5"/>
    <p:sldId id="2147377882" r:id="rId6"/>
    <p:sldId id="2147377880" r:id="rId7"/>
    <p:sldId id="2147377864" r:id="rId8"/>
    <p:sldId id="2147377881" r:id="rId9"/>
    <p:sldId id="2147377883" r:id="rId10"/>
    <p:sldId id="2147377884" r:id="rId11"/>
    <p:sldId id="2147377885" r:id="rId12"/>
    <p:sldId id="2147377886" r:id="rId13"/>
    <p:sldId id="2147377867" r:id="rId14"/>
    <p:sldId id="2147377887" r:id="rId15"/>
    <p:sldId id="2147377888" r:id="rId16"/>
    <p:sldId id="2147377889" r:id="rId17"/>
    <p:sldId id="3820" r:id="rId18"/>
    <p:sldId id="2147377890" r:id="rId19"/>
  </p:sldIdLst>
  <p:sldSz cx="12192000" cy="6858000"/>
  <p:notesSz cx="6858000" cy="9144000"/>
  <p:custDataLst>
    <p:tags r:id="rId2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38E4415-8549-4192-8D41-3997E0585F0A}">
          <p14:sldIdLst/>
        </p14:section>
        <p14:section name="NLP" id="{8B10387A-B91E-47F2-AAF7-8BF8ECEEA931}">
          <p14:sldIdLst>
            <p14:sldId id="2147377859"/>
            <p14:sldId id="2147377879"/>
            <p14:sldId id="2147377868"/>
            <p14:sldId id="2147377882"/>
            <p14:sldId id="2147377880"/>
            <p14:sldId id="2147377864"/>
            <p14:sldId id="2147377881"/>
            <p14:sldId id="2147377883"/>
            <p14:sldId id="2147377884"/>
            <p14:sldId id="2147377885"/>
            <p14:sldId id="2147377886"/>
            <p14:sldId id="2147377867"/>
            <p14:sldId id="2147377887"/>
            <p14:sldId id="2147377888"/>
            <p14:sldId id="2147377889"/>
            <p14:sldId id="3820"/>
            <p14:sldId id="2147377890"/>
          </p14:sldIdLst>
        </p14:section>
        <p14:section name="RecSys" id="{87806E35-0B0B-4416-9449-950AFA099BAE}">
          <p14:sldIdLst/>
        </p14:section>
        <p14:section name="CV" id="{F369A236-3D7D-467C-AADD-D6E90D512693}">
          <p14:sldIdLst/>
        </p14:section>
        <p14:section name="TS" id="{4F996288-B4A1-4637-94E9-76F52FE1F22C}">
          <p14:sldIdLst/>
        </p14:section>
        <p14:section name="Табличные" id="{7EEEDBEB-88CF-424D-8A11-D1C24BE25449}">
          <p14:sldIdLst/>
        </p14:section>
        <p14:section name="Обвязка" id="{54B3F6C7-0C53-421A-890F-513B7814473C}">
          <p14:sldIdLst/>
        </p14:section>
        <p14:section name="Планы по развитию" id="{A70D90FC-0B8D-4FC5-BE31-72345132192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300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5" pos="3863" userDrawn="1">
          <p15:clr>
            <a:srgbClr val="A4A3A4"/>
          </p15:clr>
        </p15:guide>
        <p15:guide id="7" orient="horz" pos="845" userDrawn="1">
          <p15:clr>
            <a:srgbClr val="A4A3A4"/>
          </p15:clr>
        </p15:guide>
        <p15:guide id="8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 Senchikhin" initials="RS" lastIdx="1" clrIdx="2"/>
  <p:cmAuthor id="1" name="Андрей Иваненко" initials="АИ" lastIdx="2" clrIdx="0">
    <p:extLst>
      <p:ext uri="{19B8F6BF-5375-455C-9EA6-DF929625EA0E}">
        <p15:presenceInfo xmlns:p15="http://schemas.microsoft.com/office/powerpoint/2012/main" userId="S::ivanenko@samoletgroup.ru::70d769e7-fd73-4718-af1f-1fe963eec855" providerId="AD"/>
      </p:ext>
    </p:extLst>
  </p:cmAuthor>
  <p:cmAuthor id="2" name="Кантемир Александр" initials="КА" lastIdx="1" clrIdx="1">
    <p:extLst>
      <p:ext uri="{19B8F6BF-5375-455C-9EA6-DF929625EA0E}">
        <p15:presenceInfo xmlns:p15="http://schemas.microsoft.com/office/powerpoint/2012/main" userId="S-1-5-21-1701381398-1125909616-1447102860-33681" providerId="AD"/>
      </p:ext>
    </p:extLst>
  </p:cmAuthor>
  <p:cmAuthor id="3" name="Microsoft Office User" initials="MOU" lastIdx="5" clrIdx="3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034"/>
    <a:srgbClr val="F2F2F2"/>
    <a:srgbClr val="FFFFFF"/>
    <a:srgbClr val="1888FC"/>
    <a:srgbClr val="007BFB"/>
    <a:srgbClr val="F8A208"/>
    <a:srgbClr val="FF644E"/>
    <a:srgbClr val="EC8A14"/>
    <a:srgbClr val="FFCC99"/>
    <a:srgbClr val="EE0C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92" autoAdjust="0"/>
    <p:restoredTop sz="95206" autoAdjust="0"/>
  </p:normalViewPr>
  <p:slideViewPr>
    <p:cSldViewPr snapToGrid="0" snapToObjects="1" showGuides="1">
      <p:cViewPr varScale="1">
        <p:scale>
          <a:sx n="92" d="100"/>
          <a:sy n="92" d="100"/>
        </p:scale>
        <p:origin x="1816" y="880"/>
      </p:cViewPr>
      <p:guideLst>
        <p:guide orient="horz" pos="346"/>
        <p:guide orient="horz" pos="300"/>
        <p:guide pos="288"/>
        <p:guide pos="3863"/>
        <p:guide orient="horz" pos="845"/>
        <p:guide orient="horz" pos="61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962"/>
    </p:cViewPr>
  </p:sorterViewPr>
  <p:notesViewPr>
    <p:cSldViewPr snapToGrid="0" snapToObjects="1">
      <p:cViewPr varScale="1">
        <p:scale>
          <a:sx n="85" d="100"/>
          <a:sy n="85" d="100"/>
        </p:scale>
        <p:origin x="3810" y="6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D22B354-7FB0-9440-9E01-0426A72E83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EE4E78-DBFA-C74C-8CF9-73EC1B45BC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EFAD44-A32E-5F4C-94A6-0AA4868208FE}" type="datetimeFigureOut">
              <a:rPr lang="x-none" smtClean="0"/>
              <a:t>02.04.2024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570FE-9DD0-7449-9524-B5FDBB5FB80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26209-F471-8340-90B0-06FD18FC09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F8022D-F126-3A49-9207-ACD766A4219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148195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3F91857-93F2-4CF7-A09C-48E44E51D249}" type="datetimeFigureOut">
              <a:rPr lang="ru-RU" smtClean="0"/>
              <a:pPr/>
              <a:t>02.04.2024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9B63273-62A0-4D07-B32F-2011610D9A1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71073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B63273-62A0-4D07-B32F-2011610D9A17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5761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B63273-62A0-4D07-B32F-2011610D9A17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1125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18.gif"/><Relationship Id="rId4" Type="http://schemas.openxmlformats.org/officeDocument/2006/relationships/image" Target="../media/image1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22.gif"/><Relationship Id="rId5" Type="http://schemas.openxmlformats.org/officeDocument/2006/relationships/image" Target="../media/image11.png"/><Relationship Id="rId4" Type="http://schemas.openxmlformats.org/officeDocument/2006/relationships/image" Target="../media/image19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19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http://8AFC5DDB18404681E655287C9BCDC718.dms.sberbank.ru/8AFC5DDB18404681E655287C9BCDC718-CD3236F8055D3ADE32111E1473E4AEBE-FD018408C109D18ABF389ED7C2E9F154/1.png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75" y="1620520"/>
            <a:ext cx="6489700" cy="2180084"/>
          </a:xfr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72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</a:t>
            </a:r>
            <a:br>
              <a:rPr lang="en-US"/>
            </a:br>
            <a:r>
              <a:rPr lang="en-US"/>
              <a:t>text two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3848224"/>
            <a:ext cx="6489700" cy="369332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accent3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4BDA1D-3FEA-FB42-B3BC-FDD186EA2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617958" y="6099716"/>
            <a:ext cx="5530850" cy="310867"/>
          </a:xfrm>
        </p:spPr>
        <p:txBody>
          <a:bodyPr/>
          <a:lstStyle/>
          <a:p>
            <a:pPr algn="r"/>
            <a:r>
              <a:rPr lang="ru-RU" sz="1400"/>
              <a:t>Февраль </a:t>
            </a:r>
            <a:r>
              <a:rPr lang="en-US" sz="1400"/>
              <a:t>202</a:t>
            </a:r>
            <a:r>
              <a:rPr lang="ru-RU" sz="1400"/>
              <a:t>1</a:t>
            </a:r>
            <a:r>
              <a:rPr lang="en-US" sz="1400"/>
              <a:t> </a:t>
            </a:r>
          </a:p>
          <a:p>
            <a:pPr algn="r"/>
            <a:endParaRPr lang="en-US" sz="1400">
              <a:solidFill>
                <a:schemeClr val="accent3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3CFB108-768E-1144-BF27-905CE67BDD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52" y="6548120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04F8773-BB86-E44D-A23C-45BE436C86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312" y="673533"/>
            <a:ext cx="1534146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3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-Title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C4795C-6EEC-DD4E-B8DC-7213A436C0B9}"/>
              </a:ext>
            </a:extLst>
          </p:cNvPr>
          <p:cNvSpPr/>
          <p:nvPr userDrawn="1"/>
        </p:nvSpPr>
        <p:spPr bwMode="auto">
          <a:xfrm>
            <a:off x="11006138" y="6400800"/>
            <a:ext cx="1185862" cy="457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A2DCEEE-CEE0-2D41-AFEE-3D49C0CDF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7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-Titl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</p:spPr>
        <p:txBody>
          <a:bodyPr/>
          <a:lstStyle>
            <a:lvl1pPr>
              <a:defRPr sz="14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36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27633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07171E-9895-EE4D-AB57-8609F5FFAA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A7991F9-8003-AA43-99C7-18D4215F7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174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T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2BDE066-AB51-5C47-8C12-3F703BE38D6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7200" y="1143000"/>
            <a:ext cx="11277600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  <a:lvl2pPr>
              <a:defRPr sz="1600" b="1">
                <a:latin typeface="+mn-lt"/>
              </a:defRPr>
            </a:lvl2pPr>
            <a:lvl3pPr marL="403225" indent="-227013">
              <a:buClr>
                <a:schemeClr val="accent1"/>
              </a:buClr>
              <a:tabLst/>
              <a:defRPr sz="1400">
                <a:latin typeface="+mj-lt"/>
              </a:defRPr>
            </a:lvl3pPr>
            <a:lvl4pPr marL="630238" indent="-227013">
              <a:buClr>
                <a:schemeClr val="accent1"/>
              </a:buClr>
              <a:tabLst/>
              <a:defRPr sz="1200">
                <a:latin typeface="+mj-lt"/>
              </a:defRPr>
            </a:lvl4pPr>
            <a:lvl5pPr marL="857250" indent="-168275">
              <a:buClr>
                <a:schemeClr val="accent1"/>
              </a:buClr>
              <a:tabLst/>
              <a:defRPr sz="11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ist title: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71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Tx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2BDE066-AB51-5C47-8C12-3F703BE38D6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7200" y="1143000"/>
            <a:ext cx="11277600" cy="48006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n-lt"/>
              </a:defRPr>
            </a:lvl2pPr>
            <a:lvl3pPr marL="403225" indent="-227013">
              <a:buClr>
                <a:schemeClr val="accent1"/>
              </a:buClr>
              <a:tabLst/>
              <a:defRPr sz="1400">
                <a:solidFill>
                  <a:schemeClr val="bg1"/>
                </a:solidFill>
                <a:latin typeface="+mj-lt"/>
              </a:defRPr>
            </a:lvl3pPr>
            <a:lvl4pPr marL="630238" indent="-227013">
              <a:buClr>
                <a:schemeClr val="accent1"/>
              </a:buClr>
              <a:tabLst/>
              <a:defRPr sz="1200">
                <a:solidFill>
                  <a:schemeClr val="bg1"/>
                </a:solidFill>
                <a:latin typeface="+mj-lt"/>
              </a:defRPr>
            </a:lvl4pPr>
            <a:lvl5pPr marL="857250" indent="-168275">
              <a:buClr>
                <a:schemeClr val="accent1"/>
              </a:buClr>
              <a:tabLst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ist title: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E8A33-2782-2F41-BEC1-8E60D3470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0C04F6A-CC01-C24E-8915-ABF37188A1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567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Txt+Out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981168-9966-654D-A137-74815A9E3B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376988"/>
            <a:ext cx="11277600" cy="320145"/>
          </a:xfrm>
        </p:spPr>
        <p:txBody>
          <a:bodyPr/>
          <a:lstStyle>
            <a:lvl1pPr algn="ctr">
              <a:defRPr sz="1800" b="1" spc="200" baseline="0">
                <a:solidFill>
                  <a:schemeClr val="bg1"/>
                </a:solidFill>
                <a:latin typeface="+mj-lt"/>
              </a:defRPr>
            </a:lvl1pPr>
            <a:lvl2pPr>
              <a:defRPr sz="1800" b="1">
                <a:solidFill>
                  <a:schemeClr val="bg1"/>
                </a:solidFill>
                <a:latin typeface="+mj-lt"/>
              </a:defRPr>
            </a:lvl2pPr>
            <a:lvl3pPr>
              <a:defRPr sz="1800" b="1">
                <a:solidFill>
                  <a:schemeClr val="bg1"/>
                </a:solidFill>
                <a:latin typeface="+mj-lt"/>
              </a:defRPr>
            </a:lvl3pPr>
            <a:lvl4pPr>
              <a:defRPr sz="1800" b="1">
                <a:solidFill>
                  <a:schemeClr val="bg1"/>
                </a:solidFill>
                <a:latin typeface="+mj-lt"/>
              </a:defRPr>
            </a:lvl4pPr>
            <a:lvl5pPr>
              <a:defRPr sz="18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2BDE066-AB51-5C47-8C12-3F703BE38D6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7200" y="1143000"/>
            <a:ext cx="11277600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  <a:lvl2pPr>
              <a:defRPr sz="1600" b="1">
                <a:latin typeface="+mn-lt"/>
              </a:defRPr>
            </a:lvl2pPr>
            <a:lvl3pPr marL="403225" indent="-227013">
              <a:buClr>
                <a:schemeClr val="accent1"/>
              </a:buClr>
              <a:tabLst/>
              <a:defRPr sz="1400">
                <a:latin typeface="+mj-lt"/>
              </a:defRPr>
            </a:lvl3pPr>
            <a:lvl4pPr marL="630238" indent="-227013">
              <a:buClr>
                <a:schemeClr val="accent1"/>
              </a:buClr>
              <a:tabLst/>
              <a:defRPr sz="1200">
                <a:latin typeface="+mj-lt"/>
              </a:defRPr>
            </a:lvl4pPr>
            <a:lvl5pPr marL="857250" indent="-168275">
              <a:buClr>
                <a:schemeClr val="accent1"/>
              </a:buClr>
              <a:tabLst/>
              <a:defRPr sz="11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ist title: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1A850B1-DEBC-D541-AF06-D69E629586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" y="6172200"/>
            <a:ext cx="12191999" cy="685800"/>
          </a:xfrm>
          <a:solidFill>
            <a:schemeClr val="accent5"/>
          </a:solidFill>
        </p:spPr>
        <p:txBody>
          <a:bodyPr tIns="182880" bIns="182880" anchor="ctr" anchorCtr="0"/>
          <a:lstStyle>
            <a:lvl1pPr algn="ctr">
              <a:defRPr sz="1800" b="1" spc="200" baseline="0">
                <a:solidFill>
                  <a:schemeClr val="bg1"/>
                </a:solidFill>
                <a:latin typeface="+mj-lt"/>
              </a:defRPr>
            </a:lvl1pPr>
            <a:lvl2pPr>
              <a:defRPr sz="1800" b="1">
                <a:solidFill>
                  <a:schemeClr val="bg1"/>
                </a:solidFill>
                <a:latin typeface="+mj-lt"/>
              </a:defRPr>
            </a:lvl2pPr>
            <a:lvl3pPr>
              <a:defRPr sz="1800" b="1">
                <a:solidFill>
                  <a:schemeClr val="bg1"/>
                </a:solidFill>
                <a:latin typeface="+mj-lt"/>
              </a:defRPr>
            </a:lvl3pPr>
            <a:lvl4pPr>
              <a:defRPr sz="1800" b="1">
                <a:solidFill>
                  <a:schemeClr val="bg1"/>
                </a:solidFill>
                <a:latin typeface="+mj-lt"/>
              </a:defRPr>
            </a:lvl4pPr>
            <a:lvl5pPr>
              <a:defRPr sz="18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2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Txt+Outp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981168-9966-654D-A137-74815A9E3B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" y="6172200"/>
            <a:ext cx="12191999" cy="685800"/>
          </a:xfrm>
          <a:solidFill>
            <a:schemeClr val="accent5"/>
          </a:solidFill>
        </p:spPr>
        <p:txBody>
          <a:bodyPr tIns="182880" bIns="182880" anchor="ctr" anchorCtr="0"/>
          <a:lstStyle>
            <a:lvl1pPr algn="ctr">
              <a:defRPr sz="1800" b="1" spc="200" baseline="0">
                <a:solidFill>
                  <a:schemeClr val="bg1"/>
                </a:solidFill>
                <a:latin typeface="+mj-lt"/>
              </a:defRPr>
            </a:lvl1pPr>
            <a:lvl2pPr>
              <a:defRPr sz="1800" b="1">
                <a:solidFill>
                  <a:schemeClr val="bg1"/>
                </a:solidFill>
                <a:latin typeface="+mj-lt"/>
              </a:defRPr>
            </a:lvl2pPr>
            <a:lvl3pPr>
              <a:defRPr sz="1800" b="1">
                <a:solidFill>
                  <a:schemeClr val="bg1"/>
                </a:solidFill>
                <a:latin typeface="+mj-lt"/>
              </a:defRPr>
            </a:lvl3pPr>
            <a:lvl4pPr>
              <a:defRPr sz="1800" b="1">
                <a:solidFill>
                  <a:schemeClr val="bg1"/>
                </a:solidFill>
                <a:latin typeface="+mj-lt"/>
              </a:defRPr>
            </a:lvl4pPr>
            <a:lvl5pPr>
              <a:defRPr sz="18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094F7-EBD5-1D4F-A543-59A25BBB52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2231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977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523438C-1ACA-6946-9DDD-9BBC631B42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554FA6A-EBDF-7C45-A13F-8F71CB5D90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123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C6B6AF-1EA7-BF4A-9C00-4A4F11F45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add backgroun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75" y="1620520"/>
            <a:ext cx="6489700" cy="2180084"/>
          </a:xfr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72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</a:t>
            </a:r>
            <a:br>
              <a:rPr lang="en-US"/>
            </a:br>
            <a:r>
              <a:rPr lang="en-US"/>
              <a:t>text two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3848224"/>
            <a:ext cx="6489700" cy="369332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accent3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4BDA1D-3FEA-FB42-B3BC-FDD186EA2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617958" y="6099716"/>
            <a:ext cx="5530850" cy="310867"/>
          </a:xfrm>
        </p:spPr>
        <p:txBody>
          <a:bodyPr/>
          <a:lstStyle/>
          <a:p>
            <a:pPr algn="r"/>
            <a:r>
              <a:rPr lang="ru-RU" sz="1400"/>
              <a:t>Февраль </a:t>
            </a:r>
            <a:r>
              <a:rPr lang="en-US" sz="1400"/>
              <a:t>202</a:t>
            </a:r>
            <a:r>
              <a:rPr lang="ru-RU" sz="1400"/>
              <a:t>1</a:t>
            </a:r>
            <a:r>
              <a:rPr lang="en-US" sz="1400"/>
              <a:t> </a:t>
            </a:r>
          </a:p>
          <a:p>
            <a:pPr algn="r"/>
            <a:endParaRPr lang="en-US" sz="1400">
              <a:solidFill>
                <a:schemeClr val="accent3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3CFB108-768E-1144-BF27-905CE67BDD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52" y="6548120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3512CA02-A26E-174F-8BF6-89703E9FC4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312" y="673533"/>
            <a:ext cx="1534146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722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Blac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FB90727-537A-4481-B2D2-D3318584191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64C0F0-8EBA-424A-AAB2-2EDB7D257C1A}"/>
              </a:ext>
            </a:extLst>
          </p:cNvPr>
          <p:cNvSpPr txBox="1"/>
          <p:nvPr/>
        </p:nvSpPr>
        <p:spPr>
          <a:xfrm>
            <a:off x="2891743" y="5700778"/>
            <a:ext cx="2594657" cy="335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spc="300">
              <a:solidFill>
                <a:srgbClr val="505C70"/>
              </a:solidFill>
              <a:ea typeface="Human Sans" charset="0"/>
              <a:cs typeface="Human Sans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E957BB4-5721-4E10-9A5E-614C030E72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7763" y="1539875"/>
            <a:ext cx="7399337" cy="3765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35401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lacinia, diam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lacus</a:t>
            </a:r>
            <a:r>
              <a:rPr lang="en-US"/>
              <a:t> lorem </a:t>
            </a:r>
            <a:r>
              <a:rPr lang="en-US" err="1"/>
              <a:t>placerat</a:t>
            </a:r>
            <a:r>
              <a:rPr lang="en-US"/>
              <a:t> libero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.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dia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. Nunc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, </a:t>
            </a:r>
            <a:r>
              <a:rPr lang="en-US" err="1"/>
              <a:t>sagittis</a:t>
            </a:r>
            <a:r>
              <a:rPr lang="en-US"/>
              <a:t> in </a:t>
            </a:r>
            <a:r>
              <a:rPr lang="en-US" err="1"/>
              <a:t>tortor</a:t>
            </a:r>
            <a:r>
              <a:rPr lang="en-US"/>
              <a:t> a,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Aenean auctor ligula </a:t>
            </a:r>
            <a:r>
              <a:rPr lang="en-US" err="1"/>
              <a:t>feugiat</a:t>
            </a:r>
            <a:r>
              <a:rPr lang="en-US"/>
              <a:t>, </a:t>
            </a:r>
            <a:r>
              <a:rPr lang="en-US" err="1"/>
              <a:t>tempor</a:t>
            </a:r>
            <a:r>
              <a:rPr lang="en-US"/>
              <a:t> diam non, </a:t>
            </a:r>
            <a:r>
              <a:rPr lang="en-US" err="1"/>
              <a:t>viverra</a:t>
            </a:r>
            <a:r>
              <a:rPr lang="en-US"/>
              <a:t> eros. </a:t>
            </a:r>
          </a:p>
        </p:txBody>
      </p:sp>
      <p:sp>
        <p:nvSpPr>
          <p:cNvPr id="8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07E20149-356A-4F5A-B900-CA959E9CCD09}"/>
              </a:ext>
            </a:extLst>
          </p:cNvPr>
          <p:cNvSpPr/>
          <p:nvPr/>
        </p:nvSpPr>
        <p:spPr>
          <a:xfrm>
            <a:off x="-197769" y="-678179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bg2">
                    <a:lumMod val="90000"/>
                  </a:schemeClr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bg2">
                  <a:lumMod val="90000"/>
                </a:schemeClr>
              </a:solidFill>
              <a:latin typeface="Helvetica"/>
              <a:cs typeface="Helvetica"/>
            </a:endParaRPr>
          </a:p>
        </p:txBody>
      </p:sp>
      <p:sp>
        <p:nvSpPr>
          <p:cNvPr id="9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FC499605-8F78-403D-9411-2AB3E5DE809D}"/>
              </a:ext>
            </a:extLst>
          </p:cNvPr>
          <p:cNvSpPr/>
          <p:nvPr/>
        </p:nvSpPr>
        <p:spPr>
          <a:xfrm flipV="1">
            <a:off x="8920915" y="3962304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bg2">
                    <a:lumMod val="90000"/>
                  </a:schemeClr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bg2">
                  <a:lumMod val="90000"/>
                </a:schemeClr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10654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464C0F0-8EBA-424A-AAB2-2EDB7D257C1A}"/>
              </a:ext>
            </a:extLst>
          </p:cNvPr>
          <p:cNvSpPr txBox="1"/>
          <p:nvPr/>
        </p:nvSpPr>
        <p:spPr>
          <a:xfrm>
            <a:off x="2891743" y="5700778"/>
            <a:ext cx="2594657" cy="335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spc="300">
              <a:solidFill>
                <a:srgbClr val="505C70"/>
              </a:solidFill>
              <a:ea typeface="Human Sans" charset="0"/>
              <a:cs typeface="Human Sans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E957BB4-5721-4E10-9A5E-614C030E72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7763" y="1539875"/>
            <a:ext cx="7399337" cy="3765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35401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lacinia, diam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lacus</a:t>
            </a:r>
            <a:r>
              <a:rPr lang="en-US"/>
              <a:t> lorem </a:t>
            </a:r>
            <a:r>
              <a:rPr lang="en-US" err="1"/>
              <a:t>placerat</a:t>
            </a:r>
            <a:r>
              <a:rPr lang="en-US"/>
              <a:t> libero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.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dia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. Nunc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, </a:t>
            </a:r>
            <a:r>
              <a:rPr lang="en-US" err="1"/>
              <a:t>sagittis</a:t>
            </a:r>
            <a:r>
              <a:rPr lang="en-US"/>
              <a:t> in </a:t>
            </a:r>
            <a:r>
              <a:rPr lang="en-US" err="1"/>
              <a:t>tortor</a:t>
            </a:r>
            <a:r>
              <a:rPr lang="en-US"/>
              <a:t> a,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Aenean auctor ligula </a:t>
            </a:r>
            <a:r>
              <a:rPr lang="en-US" err="1"/>
              <a:t>feugiat</a:t>
            </a:r>
            <a:r>
              <a:rPr lang="en-US"/>
              <a:t>, </a:t>
            </a:r>
            <a:r>
              <a:rPr lang="en-US" err="1"/>
              <a:t>tempor</a:t>
            </a:r>
            <a:r>
              <a:rPr lang="en-US"/>
              <a:t> diam non,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D4B608-D816-4DE3-A7E1-0012AD53F59A}"/>
              </a:ext>
            </a:extLst>
          </p:cNvPr>
          <p:cNvSpPr/>
          <p:nvPr/>
        </p:nvSpPr>
        <p:spPr bwMode="auto">
          <a:xfrm>
            <a:off x="0" y="6352675"/>
            <a:ext cx="12103768" cy="5053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587DF0DA-0128-4BEB-A190-11F33EDB9DEF}"/>
              </a:ext>
            </a:extLst>
          </p:cNvPr>
          <p:cNvSpPr/>
          <p:nvPr/>
        </p:nvSpPr>
        <p:spPr>
          <a:xfrm>
            <a:off x="-197769" y="-678179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tx1"/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tx1"/>
              </a:solidFill>
              <a:latin typeface="Helvetica"/>
              <a:cs typeface="Helvetica"/>
            </a:endParaRPr>
          </a:p>
        </p:txBody>
      </p:sp>
      <p:sp>
        <p:nvSpPr>
          <p:cNvPr id="9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8AF09BA9-4186-409B-BBDA-932BC21D72EE}"/>
              </a:ext>
            </a:extLst>
          </p:cNvPr>
          <p:cNvSpPr/>
          <p:nvPr/>
        </p:nvSpPr>
        <p:spPr>
          <a:xfrm flipV="1">
            <a:off x="8920915" y="3962304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tx1"/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tx1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943392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464C0F0-8EBA-424A-AAB2-2EDB7D257C1A}"/>
              </a:ext>
            </a:extLst>
          </p:cNvPr>
          <p:cNvSpPr txBox="1"/>
          <p:nvPr/>
        </p:nvSpPr>
        <p:spPr>
          <a:xfrm>
            <a:off x="2891743" y="5700778"/>
            <a:ext cx="2594657" cy="335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spc="300">
              <a:solidFill>
                <a:srgbClr val="505C70"/>
              </a:solidFill>
              <a:ea typeface="Human Sans" charset="0"/>
              <a:cs typeface="Human Sans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E957BB4-5721-4E10-9A5E-614C030E72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7763" y="1539875"/>
            <a:ext cx="7399337" cy="3765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35401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lacinia, diam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lacus</a:t>
            </a:r>
            <a:r>
              <a:rPr lang="en-US"/>
              <a:t> lorem </a:t>
            </a:r>
            <a:r>
              <a:rPr lang="en-US" err="1"/>
              <a:t>placerat</a:t>
            </a:r>
            <a:r>
              <a:rPr lang="en-US"/>
              <a:t> libero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et </a:t>
            </a:r>
            <a:r>
              <a:rPr lang="en-US" err="1"/>
              <a:t>turpis</a:t>
            </a:r>
            <a:r>
              <a:rPr lang="en-US"/>
              <a:t>.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dia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. Nunc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, </a:t>
            </a:r>
            <a:r>
              <a:rPr lang="en-US" err="1"/>
              <a:t>sagittis</a:t>
            </a:r>
            <a:r>
              <a:rPr lang="en-US"/>
              <a:t> in </a:t>
            </a:r>
            <a:r>
              <a:rPr lang="en-US" err="1"/>
              <a:t>tortor</a:t>
            </a:r>
            <a:r>
              <a:rPr lang="en-US"/>
              <a:t> a,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Aenean auctor ligula </a:t>
            </a:r>
            <a:r>
              <a:rPr lang="en-US" err="1"/>
              <a:t>feugiat</a:t>
            </a:r>
            <a:r>
              <a:rPr lang="en-US"/>
              <a:t>, </a:t>
            </a:r>
            <a:r>
              <a:rPr lang="en-US" err="1"/>
              <a:t>tempor</a:t>
            </a:r>
            <a:r>
              <a:rPr lang="en-US"/>
              <a:t> diam non,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4EE303C-17FB-4FCE-B913-121A4FB2F0F3}"/>
              </a:ext>
            </a:extLst>
          </p:cNvPr>
          <p:cNvSpPr/>
          <p:nvPr/>
        </p:nvSpPr>
        <p:spPr bwMode="auto">
          <a:xfrm>
            <a:off x="312821" y="6436895"/>
            <a:ext cx="11566358" cy="4211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EE9F96A8-06F7-4266-B635-33220DDAE61F}"/>
              </a:ext>
            </a:extLst>
          </p:cNvPr>
          <p:cNvSpPr/>
          <p:nvPr/>
        </p:nvSpPr>
        <p:spPr>
          <a:xfrm>
            <a:off x="-197769" y="-678179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accent1">
                    <a:lumMod val="40000"/>
                    <a:lumOff val="60000"/>
                  </a:schemeClr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accent1">
                  <a:lumMod val="40000"/>
                  <a:lumOff val="60000"/>
                </a:schemeClr>
              </a:solidFill>
              <a:latin typeface="Helvetica"/>
              <a:cs typeface="Helvetica"/>
            </a:endParaRPr>
          </a:p>
        </p:txBody>
      </p:sp>
      <p:sp>
        <p:nvSpPr>
          <p:cNvPr id="9" name="“We identified a subtle but unmistakable shift from providers to the patient as the ultimate customer in diabetes care. From the patient perspective, we can produce a great new drug, but if it’s not designed to ease their burden of care then it leads to only one result: lover adherence and a poorer health outcome, for the patient and society.”">
            <a:extLst>
              <a:ext uri="{FF2B5EF4-FFF2-40B4-BE49-F238E27FC236}">
                <a16:creationId xmlns:a16="http://schemas.microsoft.com/office/drawing/2014/main" id="{99BD1E5A-7DA5-4E44-A83E-AD96CECA5463}"/>
              </a:ext>
            </a:extLst>
          </p:cNvPr>
          <p:cNvSpPr/>
          <p:nvPr/>
        </p:nvSpPr>
        <p:spPr>
          <a:xfrm flipV="1">
            <a:off x="8920915" y="3962304"/>
            <a:ext cx="3470358" cy="3645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>
            <a:noAutofit/>
          </a:bodyPr>
          <a:lstStyle>
            <a:lvl1pPr>
              <a:lnSpc>
                <a:spcPct val="90000"/>
              </a:lnSpc>
              <a:spcBef>
                <a:spcPts val="4000"/>
              </a:spcBef>
              <a:defRPr sz="7000" spc="-14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en-GB" sz="50000" spc="0">
                <a:solidFill>
                  <a:schemeClr val="accent1">
                    <a:lumMod val="40000"/>
                    <a:lumOff val="60000"/>
                  </a:schemeClr>
                </a:solidFill>
                <a:latin typeface="Helvetica"/>
                <a:cs typeface="Helvetica"/>
              </a:rPr>
              <a:t>“</a:t>
            </a:r>
            <a:endParaRPr sz="50000" spc="0">
              <a:solidFill>
                <a:schemeClr val="accent1">
                  <a:lumMod val="40000"/>
                  <a:lumOff val="60000"/>
                </a:schemeClr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4399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7B7C2A-82DA-5E4A-B7E6-74226A2987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B24C16-9CF8-2C4A-A121-57D53AC9D9C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A6F8687-FE4D-B749-9C38-9CA513249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8CF84C31-2415-A843-95A0-0E4284517B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1EE226-783B-714B-AAC3-4B882A13A8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4825" y="1179243"/>
            <a:ext cx="1371600" cy="1371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0">
            <a:solidFill>
              <a:schemeClr val="bg1"/>
            </a:solidFill>
          </a:ln>
        </p:spPr>
        <p:txBody>
          <a:bodyPr/>
          <a:lstStyle>
            <a:lvl1pPr algn="ctr">
              <a:defRPr sz="1800"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632E34BA-48BE-3F4C-9A9F-98CFD5AD159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86138" y="1167538"/>
            <a:ext cx="1371600" cy="1371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photo</a:t>
            </a:r>
          </a:p>
          <a:p>
            <a:endParaRPr lang="en-US" dirty="0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EDBF14FA-6BA4-0143-A28A-66CEC4B701A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67451" y="1172196"/>
            <a:ext cx="1371600" cy="1371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photo</a:t>
            </a:r>
          </a:p>
          <a:p>
            <a:endParaRPr lang="en-US" dirty="0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DF0D0AA0-8661-AC49-96B2-BE3490837C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34475" y="1167538"/>
            <a:ext cx="1371600" cy="1371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photo</a:t>
            </a:r>
          </a:p>
          <a:p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B666D51-4EDA-3146-A1B3-68E0730C50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138" y="3657600"/>
            <a:ext cx="2643187" cy="2743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0ED9460-A6FD-1546-9408-6D5F90C6B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2752626"/>
            <a:ext cx="2647950" cy="298149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FA45C926-3729-8840-9E71-6AB989334E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5138" y="3051325"/>
            <a:ext cx="2647950" cy="298149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FEE425A4-0131-7A46-A65B-84346696DC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0100" y="3657600"/>
            <a:ext cx="2643187" cy="2743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8E37B4E9-B48C-4F44-B63C-65028CF673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40100" y="2752626"/>
            <a:ext cx="2647950" cy="298149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5D4EEBE9-4C51-5445-8119-CDAB4529B1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0100" y="3051325"/>
            <a:ext cx="2647950" cy="298149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4DE7002F-A658-3A4C-81B8-94AF69D3A1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0840" y="3648174"/>
            <a:ext cx="2643187" cy="2743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AE656039-389C-D246-9FBC-EBBB8703D5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0840" y="2743200"/>
            <a:ext cx="2647950" cy="298149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E53C91CD-EF1C-414E-803E-8D778ACF73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30840" y="3041899"/>
            <a:ext cx="2647950" cy="298149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F415C724-5B9E-6D49-AB85-AEF572C38F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01039" y="3648174"/>
            <a:ext cx="2643187" cy="2743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accent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description</a:t>
            </a:r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ADA3072E-C5AE-1846-8272-095F30413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1039" y="2743200"/>
            <a:ext cx="2647950" cy="298149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3574473C-19D0-BF4E-9711-7D09C86643B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01039" y="3041899"/>
            <a:ext cx="2647950" cy="298149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08BD689-5F51-6B42-8B29-30C4E07A95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5C2D4D65-847C-C64A-9DF4-0061A8C69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2832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_Gray+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0" y="0"/>
            <a:ext cx="6744701" cy="6858000"/>
            <a:chOff x="0" y="-2"/>
            <a:chExt cx="6744701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0" y="0"/>
              <a:ext cx="5849007" cy="68579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2867854" y="2981151"/>
              <a:ext cx="6858000" cy="89569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DA9D90-2950-4A4F-B326-DB93715B00FC}"/>
              </a:ext>
            </a:extLst>
          </p:cNvPr>
          <p:cNvSpPr/>
          <p:nvPr/>
        </p:nvSpPr>
        <p:spPr bwMode="auto">
          <a:xfrm>
            <a:off x="11020926" y="6472989"/>
            <a:ext cx="613611" cy="38501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BA8B023-70B2-DF48-BE8A-DF564A91E4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18570"/>
            <a:ext cx="564080" cy="19790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D9E76D9-3704-F04B-9178-E6ED385F2F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632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Black+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0" y="0"/>
            <a:ext cx="6744701" cy="6858000"/>
            <a:chOff x="0" y="-2"/>
            <a:chExt cx="6744701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0" y="0"/>
              <a:ext cx="5849007" cy="68579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2867854" y="2981151"/>
              <a:ext cx="6858000" cy="89569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F22508-4FAA-E341-9B67-1538B465E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47956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_Gray+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0" y="0"/>
            <a:ext cx="6744701" cy="6858000"/>
            <a:chOff x="0" y="-2"/>
            <a:chExt cx="6744701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0" y="0"/>
              <a:ext cx="5849007" cy="68579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2867854" y="2981151"/>
              <a:ext cx="6858000" cy="89569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BA8B023-70B2-DF48-BE8A-DF564A91E4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18570"/>
            <a:ext cx="564080" cy="19790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807233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1/3_Gray+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-1" y="0"/>
            <a:ext cx="4004654" cy="6858000"/>
            <a:chOff x="-1" y="-2"/>
            <a:chExt cx="4004654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-1" y="0"/>
              <a:ext cx="3108960" cy="68579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127806" y="2981151"/>
              <a:ext cx="6858000" cy="89569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BA8B023-70B2-DF48-BE8A-DF564A91E4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18570"/>
            <a:ext cx="564080" cy="19790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6699"/>
            <a:ext cx="2651125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651125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A9EC39C-EF82-7D4D-862C-2FD5F6AD9A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2259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1/3_Black+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-1" y="0"/>
            <a:ext cx="4004654" cy="6858000"/>
            <a:chOff x="-1" y="-2"/>
            <a:chExt cx="4004654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-1" y="0"/>
              <a:ext cx="3108960" cy="68579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127806" y="2981151"/>
              <a:ext cx="6858000" cy="89569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2651125" cy="9144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651125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2728BF-40D7-B34F-A6DD-6A08872934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82426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1/3_Gray+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D1E9974-3FDD-4916-B3B1-D54B8CF0E2ED}"/>
              </a:ext>
            </a:extLst>
          </p:cNvPr>
          <p:cNvGrpSpPr/>
          <p:nvPr/>
        </p:nvGrpSpPr>
        <p:grpSpPr>
          <a:xfrm>
            <a:off x="-1" y="0"/>
            <a:ext cx="4004654" cy="6858000"/>
            <a:chOff x="-1" y="-2"/>
            <a:chExt cx="4004654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CE43F7-E484-294D-B370-5248A19DA733}"/>
                </a:ext>
              </a:extLst>
            </p:cNvPr>
            <p:cNvSpPr/>
            <p:nvPr userDrawn="1"/>
          </p:nvSpPr>
          <p:spPr>
            <a:xfrm>
              <a:off x="-1" y="0"/>
              <a:ext cx="3108960" cy="68579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" name="Isosceles Triangle 13">
              <a:extLst>
                <a:ext uri="{FF2B5EF4-FFF2-40B4-BE49-F238E27FC236}">
                  <a16:creationId xmlns:a16="http://schemas.microsoft.com/office/drawing/2014/main" id="{88193970-AC89-4B45-884B-5C99F14F6E77}"/>
                </a:ext>
              </a:extLst>
            </p:cNvPr>
            <p:cNvSpPr/>
            <p:nvPr userDrawn="1"/>
          </p:nvSpPr>
          <p:spPr>
            <a:xfrm rot="5400000" flipH="1">
              <a:off x="127806" y="2981151"/>
              <a:ext cx="6858000" cy="89569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0A642-2EAA-41B8-9896-14614B647F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09005" cy="4800600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BA8B023-70B2-DF48-BE8A-DF564A91E4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18570"/>
            <a:ext cx="564080" cy="19790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B644735-29D2-8E48-BEA5-10FD3E004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6699"/>
            <a:ext cx="2651125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0578-B0C5-F74F-AAA5-B607866D47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651125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1225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-1/2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75" y="1620520"/>
            <a:ext cx="5519275" cy="2180084"/>
          </a:xfr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72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</a:t>
            </a:r>
            <a:br>
              <a:rPr lang="en-US"/>
            </a:br>
            <a:r>
              <a:rPr lang="en-US"/>
              <a:t>text two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3848224"/>
            <a:ext cx="5519275" cy="73866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519275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accent3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24BDA1D-3FEA-FB42-B3BC-FDD186EA2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617958" y="6099716"/>
            <a:ext cx="5530850" cy="310867"/>
          </a:xfrm>
        </p:spPr>
        <p:txBody>
          <a:bodyPr/>
          <a:lstStyle/>
          <a:p>
            <a:pPr algn="r"/>
            <a:r>
              <a:rPr lang="ru-RU" sz="1400"/>
              <a:t>Февраль </a:t>
            </a:r>
            <a:r>
              <a:rPr lang="en-US" sz="1400"/>
              <a:t>202</a:t>
            </a:r>
            <a:r>
              <a:rPr lang="ru-RU" sz="1400"/>
              <a:t>1</a:t>
            </a:r>
            <a:r>
              <a:rPr lang="en-US" sz="1400"/>
              <a:t> </a:t>
            </a:r>
          </a:p>
          <a:p>
            <a:pPr algn="r"/>
            <a:endParaRPr lang="en-US" sz="1400">
              <a:solidFill>
                <a:schemeClr val="accent3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3CFB108-768E-1144-BF27-905CE67BDD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52" y="6548120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C6B6AF-1EA7-BF4A-9C00-4A4F11F45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add backgroun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11896F7-B46D-5E4B-A1B3-9C0A84E686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312" y="673533"/>
            <a:ext cx="1534146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9685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0099" y="457200"/>
            <a:ext cx="8381999" cy="5944101"/>
          </a:xfrm>
        </p:spPr>
        <p:txBody>
          <a:bodyPr/>
          <a:lstStyle>
            <a:lvl1pPr>
              <a:defRPr sz="1400">
                <a:latin typeface="+mj-lt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1" y="1600701"/>
            <a:ext cx="2404872" cy="48006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2404872" cy="9144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4872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17953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Left 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0099" y="457200"/>
            <a:ext cx="8381999" cy="5944101"/>
          </a:xfrm>
        </p:spPr>
        <p:txBody>
          <a:bodyPr/>
          <a:lstStyle>
            <a:lvl1pPr>
              <a:defRPr sz="1400">
                <a:latin typeface="+mj-lt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1" y="1600701"/>
            <a:ext cx="2404872" cy="4800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2404872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4872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525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Left_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0099" y="457200"/>
            <a:ext cx="8381999" cy="594410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1" y="1600701"/>
            <a:ext cx="2404872" cy="4800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2404872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4872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63237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Left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5970588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457200"/>
            <a:ext cx="5500685" cy="5944101"/>
          </a:xfr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70499" cy="48006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5270499" cy="9144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231494"/>
            <a:ext cx="5270499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779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Left 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59705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457200"/>
            <a:ext cx="5500685" cy="5944101"/>
          </a:xfrm>
        </p:spPr>
        <p:txBody>
          <a:bodyPr/>
          <a:lstStyle>
            <a:lvl1pPr>
              <a:defRPr sz="1400">
                <a:latin typeface="+mj-lt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1" y="1600701"/>
            <a:ext cx="5273040" cy="4800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73040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527304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16640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Left_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0530B-2CF0-2B45-9E31-2D14CB34CC97}"/>
              </a:ext>
            </a:extLst>
          </p:cNvPr>
          <p:cNvSpPr/>
          <p:nvPr/>
        </p:nvSpPr>
        <p:spPr bwMode="auto">
          <a:xfrm>
            <a:off x="0" y="0"/>
            <a:ext cx="59705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EA8FC5-1716-4729-BE45-B0A7EB82406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457200"/>
            <a:ext cx="5500685" cy="5944101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  <a:lvl5pPr marL="354013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Source Sans Pro" panose="020B0503030403020204" pitchFamily="34" charset="0"/>
                <a:cs typeface="Calibri" panose="020F0502020204030204" pitchFamily="34" charset="0"/>
              </a:rPr>
              <a:t>Click to edit conten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A50423-6F07-7946-B7DA-DBA853C16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909DA0D-8B38-7541-AB42-6EF6913D3A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600701"/>
            <a:ext cx="5229859" cy="4800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BFEE316-D09F-8F44-B090-776A4256E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5229859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11FA61-0816-B643-9586-BDBB44EE88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231494"/>
            <a:ext cx="5229859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16792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AF9F595-BE70-9241-8634-8A393736E6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897C89D-3A81-A94E-9FED-89314AFB71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54E3057-63A6-0B41-B2E1-E9A7C0E8DDB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200" y="1150938"/>
            <a:ext cx="457200" cy="45720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n-US" dirty="0"/>
              <a:t>Add ic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A7A2D2-508F-9348-ADDA-5841AC2D2B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90625" y="1150938"/>
            <a:ext cx="4797425" cy="457200"/>
          </a:xfrm>
        </p:spPr>
        <p:txBody>
          <a:bodyPr anchor="ctr" anchorCtr="0"/>
          <a:lstStyle>
            <a:lvl1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CF64E90-A509-DF4A-85F7-B8FE2C88030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90625" y="1828800"/>
            <a:ext cx="4797425" cy="4572000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 marL="180975" indent="-180975">
              <a:buClr>
                <a:schemeClr val="accent1"/>
              </a:buClr>
              <a:tabLst/>
              <a:defRPr sz="1200">
                <a:latin typeface="+mj-lt"/>
              </a:defRPr>
            </a:lvl3pPr>
            <a:lvl4pPr marL="292100" indent="-119063">
              <a:buClr>
                <a:schemeClr val="accent1"/>
              </a:buClr>
              <a:tabLst/>
              <a:defRPr sz="1200">
                <a:latin typeface="+mj-lt"/>
              </a:defRPr>
            </a:lvl4pPr>
            <a:lvl5pPr>
              <a:buClr>
                <a:schemeClr val="accent1"/>
              </a:buClr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E989A8F-A504-B14B-80F6-5FBEE09174A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21413" y="1157378"/>
            <a:ext cx="457200" cy="45720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n-US" dirty="0"/>
              <a:t>Add icon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C278CD-4039-A74B-B5AC-8B62342853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54838" y="1157378"/>
            <a:ext cx="4797425" cy="457200"/>
          </a:xfrm>
        </p:spPr>
        <p:txBody>
          <a:bodyPr anchor="ctr" anchorCtr="0"/>
          <a:lstStyle>
            <a:lvl1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48D2D28D-FEC3-CB46-8E8E-81BBC4504D4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954838" y="1835240"/>
            <a:ext cx="4797425" cy="4572000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 marL="180975" indent="-180975">
              <a:buClr>
                <a:schemeClr val="accent1"/>
              </a:buClr>
              <a:tabLst/>
              <a:defRPr sz="1200">
                <a:latin typeface="+mj-lt"/>
              </a:defRPr>
            </a:lvl3pPr>
            <a:lvl4pPr marL="292100" indent="-119063">
              <a:buClr>
                <a:schemeClr val="accent1"/>
              </a:buClr>
              <a:tabLst/>
              <a:defRPr sz="1200">
                <a:latin typeface="+mj-lt"/>
              </a:defRPr>
            </a:lvl4pPr>
            <a:lvl5pPr>
              <a:buClr>
                <a:schemeClr val="accent1"/>
              </a:buClr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047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AF9F595-BE70-9241-8634-8A393736E6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484632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897C89D-3A81-A94E-9FED-89314AFB71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54E3057-63A6-0B41-B2E1-E9A7C0E8DDB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200" y="1147218"/>
            <a:ext cx="457200" cy="45720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n-US" dirty="0"/>
              <a:t>Add ic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A7A2D2-508F-9348-ADDA-5841AC2D2B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152" y="1764492"/>
            <a:ext cx="3580448" cy="307124"/>
          </a:xfrm>
        </p:spPr>
        <p:txBody>
          <a:bodyPr anchor="ctr" anchorCtr="0"/>
          <a:lstStyle>
            <a:lvl1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CF64E90-A509-DF4A-85F7-B8FE2C88030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54152" y="2282280"/>
            <a:ext cx="3617786" cy="4114800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 marL="180975" indent="-180975">
              <a:buClr>
                <a:schemeClr val="accent1"/>
              </a:buClr>
              <a:tabLst/>
              <a:defRPr sz="1200">
                <a:latin typeface="+mj-lt"/>
              </a:defRPr>
            </a:lvl3pPr>
            <a:lvl4pPr marL="292100" indent="-119063">
              <a:buClr>
                <a:schemeClr val="accent1"/>
              </a:buClr>
              <a:tabLst/>
              <a:defRPr sz="1200">
                <a:latin typeface="+mj-lt"/>
              </a:defRPr>
            </a:lvl4pPr>
            <a:lvl5pPr>
              <a:buClr>
                <a:schemeClr val="accent1"/>
              </a:buClr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18E4595-2EF4-CE44-8473-F26253B9C1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2125" y="1147218"/>
            <a:ext cx="457200" cy="45720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n-US" dirty="0"/>
              <a:t>Add icon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E7883A0-1189-D846-B5CF-4FB7451999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99077" y="1764492"/>
            <a:ext cx="3580448" cy="307124"/>
          </a:xfrm>
        </p:spPr>
        <p:txBody>
          <a:bodyPr anchor="ctr" anchorCtr="0"/>
          <a:lstStyle>
            <a:lvl1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332D8693-E3B0-F647-9EB0-B6D4960EC72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99077" y="2282280"/>
            <a:ext cx="3617786" cy="4114800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 marL="180975" indent="-180975">
              <a:buClr>
                <a:schemeClr val="accent1"/>
              </a:buClr>
              <a:tabLst/>
              <a:defRPr sz="1200">
                <a:latin typeface="+mj-lt"/>
              </a:defRPr>
            </a:lvl3pPr>
            <a:lvl4pPr marL="292100" indent="-119063">
              <a:buClr>
                <a:schemeClr val="accent1"/>
              </a:buClr>
              <a:tabLst/>
              <a:defRPr sz="1200">
                <a:latin typeface="+mj-lt"/>
              </a:defRPr>
            </a:lvl4pPr>
            <a:lvl5pPr>
              <a:buClr>
                <a:schemeClr val="accent1"/>
              </a:buClr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3E3DC9F8-AF81-AC47-BC86-0176A673D7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147050" y="1147218"/>
            <a:ext cx="457200" cy="45720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n-US" dirty="0"/>
              <a:t>Add icon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07CCACC-BA40-AE43-A7E8-DE354B84F5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44002" y="1764492"/>
            <a:ext cx="3580448" cy="307124"/>
          </a:xfrm>
        </p:spPr>
        <p:txBody>
          <a:bodyPr anchor="ctr" anchorCtr="0"/>
          <a:lstStyle>
            <a:lvl1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1" name="Content Placeholder 11">
            <a:extLst>
              <a:ext uri="{FF2B5EF4-FFF2-40B4-BE49-F238E27FC236}">
                <a16:creationId xmlns:a16="http://schemas.microsoft.com/office/drawing/2014/main" id="{96561E95-94EE-D34A-AF9A-B94D5B7FFD07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144002" y="2282280"/>
            <a:ext cx="3617786" cy="4114800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 marL="180975" indent="-180975">
              <a:buClr>
                <a:schemeClr val="accent1"/>
              </a:buClr>
              <a:tabLst/>
              <a:defRPr sz="1200">
                <a:latin typeface="+mj-lt"/>
              </a:defRPr>
            </a:lvl3pPr>
            <a:lvl4pPr marL="292100" indent="-119063">
              <a:buClr>
                <a:schemeClr val="accent1"/>
              </a:buClr>
              <a:tabLst/>
              <a:defRPr sz="1200">
                <a:latin typeface="+mj-lt"/>
              </a:defRPr>
            </a:lvl4pPr>
            <a:lvl5pPr>
              <a:buClr>
                <a:schemeClr val="accent1"/>
              </a:buClr>
              <a:defRPr sz="1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1649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endix Divid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75A837B-120C-4D41-833B-EC1B45DD8212}"/>
              </a:ext>
            </a:extLst>
          </p:cNvPr>
          <p:cNvSpPr/>
          <p:nvPr/>
        </p:nvSpPr>
        <p:spPr bwMode="auto">
          <a:xfrm>
            <a:off x="228600" y="6497053"/>
            <a:ext cx="11610474" cy="31817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CAFADC-D468-5241-A5F4-2B5D855525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EB1337D-5AA4-5F42-8F3F-7B2F31B52D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1D0FDB-8EE8-BF4F-9928-FCCCB2DED6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287389"/>
            <a:ext cx="7450138" cy="1371600"/>
          </a:xfrm>
        </p:spPr>
        <p:txBody>
          <a:bodyPr/>
          <a:lstStyle>
            <a:lvl1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D591FB7-6162-E741-BA47-B3A546DDB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681626"/>
            <a:ext cx="7450138" cy="1347574"/>
          </a:xfrm>
        </p:spPr>
        <p:txBody>
          <a:bodyPr/>
          <a:lstStyle>
            <a:lvl1pPr>
              <a:defRPr sz="1800" b="0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8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Add closing remarks</a:t>
            </a:r>
          </a:p>
        </p:txBody>
      </p:sp>
    </p:spTree>
    <p:extLst>
      <p:ext uri="{BB962C8B-B14F-4D97-AF65-F5344CB8AC3E}">
        <p14:creationId xmlns:p14="http://schemas.microsoft.com/office/powerpoint/2010/main" val="3502279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3063" y="2286000"/>
            <a:ext cx="6520873" cy="2286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500" b="1" i="0" spc="30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5A837B-120C-4D41-833B-EC1B45DD8212}"/>
              </a:ext>
            </a:extLst>
          </p:cNvPr>
          <p:cNvSpPr/>
          <p:nvPr/>
        </p:nvSpPr>
        <p:spPr bwMode="auto">
          <a:xfrm>
            <a:off x="228600" y="6497053"/>
            <a:ext cx="11172216" cy="318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974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a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6340E3-8DD1-A341-A9F0-964382FEBA81}"/>
              </a:ext>
            </a:extLst>
          </p:cNvPr>
          <p:cNvCxnSpPr>
            <a:cxnSpLocks/>
          </p:cNvCxnSpPr>
          <p:nvPr userDrawn="1"/>
        </p:nvCxnSpPr>
        <p:spPr>
          <a:xfrm flipH="1">
            <a:off x="5029200" y="914401"/>
            <a:ext cx="1" cy="50292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7AB64CF-80C7-704C-AE1B-F11DAAD3DC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2256" y="918337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8C3C89FC-0CA9-1645-9FB9-815F3DD6CE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9899" y="918337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1</a:t>
            </a:r>
            <a:endParaRPr lang="en-US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9753855C-8695-DF45-931F-0D80230E1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2256" y="1375538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9D9389A3-83A9-6B41-A8EE-5F71A631CA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9899" y="137698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2</a:t>
            </a:r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0F4BD4C-E8AD-9246-9557-B1FD5227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918337"/>
            <a:ext cx="3629643" cy="896815"/>
          </a:xfrm>
        </p:spPr>
        <p:txBody>
          <a:bodyPr/>
          <a:lstStyle>
            <a:lvl1pPr>
              <a:defRPr sz="4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ru-RU"/>
              <a:t>Содержание</a:t>
            </a:r>
            <a:endParaRPr lang="en-US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113C94BB-F4AD-AF40-ABE1-A9750D682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2256" y="1832738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071DE97A-D8C8-2C4C-B2F0-2303A055A3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9899" y="1832738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3</a:t>
            </a:r>
            <a:endParaRPr lang="en-US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0D1AC2BB-FEE7-5E45-9074-390B527CD1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52256" y="2289413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69664AB2-2D32-894E-809E-33124801CA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9899" y="2289413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4</a:t>
            </a:r>
            <a:endParaRPr lang="en-US"/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B8809356-2C5B-2E41-9D4B-2051356B5C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2256" y="2747138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990E3A02-8017-AA4B-83EB-E04CB7AFB3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09899" y="2747138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5</a:t>
            </a:r>
            <a:endParaRPr lang="en-US"/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E314D2C9-8973-5F4D-94E5-034E120750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52256" y="3207752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8D69FAD0-69BE-554C-A810-1BBCF76015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899" y="3207752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6</a:t>
            </a:r>
            <a:endParaRPr lang="en-US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61BB70E-859A-2244-878F-5329B7350E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52256" y="3661540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F802450C-4713-0E4C-B427-23D523158E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09899" y="366154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7</a:t>
            </a:r>
            <a:endParaRPr lang="en-US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02827905-DC8D-BE4B-B046-8BBAF362B6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2256" y="4118740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4D2B4E69-3515-9141-8EE7-8B8B026618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09899" y="411874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8</a:t>
            </a:r>
            <a:endParaRPr lang="en-US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62F56D26-CC2A-DD4C-8C89-B378E55121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52256" y="4576465"/>
            <a:ext cx="6476999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F736B308-FE53-9140-87EA-837D923F0A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9899" y="4576465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</a:t>
            </a:r>
            <a:endParaRPr lang="en-US"/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9E0A9EC-B38A-F443-8F79-24E826402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10058" y="5033667"/>
            <a:ext cx="6476999" cy="45720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Section Name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8EC16AF0-89F7-5F47-B5E7-1518C4E86E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67701" y="5033667"/>
            <a:ext cx="443885" cy="457200"/>
          </a:xfrm>
        </p:spPr>
        <p:txBody>
          <a:bodyPr/>
          <a:lstStyle>
            <a:lvl1pPr>
              <a:defRPr sz="1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.1</a:t>
            </a:r>
            <a:endParaRPr lang="en-US"/>
          </a:p>
        </p:txBody>
      </p:sp>
      <p:sp>
        <p:nvSpPr>
          <p:cNvPr id="65" name="Text Placeholder 18">
            <a:extLst>
              <a:ext uri="{FF2B5EF4-FFF2-40B4-BE49-F238E27FC236}">
                <a16:creationId xmlns:a16="http://schemas.microsoft.com/office/drawing/2014/main" id="{7EA39C33-6088-064A-8333-996B3E3313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10058" y="5494279"/>
            <a:ext cx="6476999" cy="45720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Section Name</a:t>
            </a:r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26816FCF-9CFB-D446-83E1-C469D374C4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7701" y="5494279"/>
            <a:ext cx="443885" cy="457200"/>
          </a:xfrm>
        </p:spPr>
        <p:txBody>
          <a:bodyPr/>
          <a:lstStyle>
            <a:lvl1pPr>
              <a:defRPr sz="1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.2</a:t>
            </a:r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6E54CE2-2FAB-554D-BF52-ADAE7FA97C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580FADE-FDAA-F544-97BF-DB4500788A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1344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derline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3">
            <a:extLst>
              <a:ext uri="{FF2B5EF4-FFF2-40B4-BE49-F238E27FC236}">
                <a16:creationId xmlns:a16="http://schemas.microsoft.com/office/drawing/2014/main" id="{C5F02117-060B-5045-B69B-8599A6AB0B5E}"/>
              </a:ext>
            </a:extLst>
          </p:cNvPr>
          <p:cNvCxnSpPr>
            <a:cxnSpLocks/>
          </p:cNvCxnSpPr>
          <p:nvPr userDrawn="1"/>
        </p:nvCxnSpPr>
        <p:spPr>
          <a:xfrm>
            <a:off x="434403" y="955249"/>
            <a:ext cx="11323196" cy="0"/>
          </a:xfrm>
          <a:prstGeom prst="line">
            <a:avLst/>
          </a:prstGeom>
          <a:ln w="19050" cmpd="sng">
            <a:solidFill>
              <a:schemeClr val="bg1">
                <a:alpha val="2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6C395C93-7E6B-5D41-A16D-4D334F5DA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63" y="186267"/>
            <a:ext cx="11375435" cy="694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ype title he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78636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7502" y="1612232"/>
            <a:ext cx="11032488" cy="448056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tabLst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</a:tabLst>
              <a:defRPr sz="1400" b="0" i="0" baseline="0"/>
            </a:lvl1pPr>
          </a:lstStyle>
          <a:p>
            <a:pPr lvl="0"/>
            <a:r>
              <a:rPr lang="en-US"/>
              <a:t>Click to edit cont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87BB-15C1-D54A-B7B4-6BEA60B5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 b="1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B426DF-8170-44E7-B1CD-CD9B50E131B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2B24C16-9CF8-2C4A-A121-57D53AC9D9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779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9360544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37160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56242-37A7-504E-A49A-206D95E3B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9360544" cy="457200"/>
          </a:xfrm>
        </p:spPr>
        <p:txBody>
          <a:bodyPr/>
          <a:lstStyle>
            <a:lvl1pPr>
              <a:defRPr sz="2200" b="1"/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42919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big + style" preserve="1">
  <p:cSld name="title big + style">
    <p:bg>
      <p:bgPr>
        <a:solidFill>
          <a:srgbClr val="007BFC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85E2A2-048A-4650-84A2-D720028FA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83" imgH="384" progId="TCLayout.ActiveDocument.1">
                  <p:embed/>
                </p:oleObj>
              </mc:Choice>
              <mc:Fallback>
                <p:oleObj name="Слайд think-cell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85E2A2-048A-4650-84A2-D720028FA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oogle Shape;17;p66" descr="sml_logo_white.png"/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5465" y="6010938"/>
            <a:ext cx="3001231" cy="40446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66"/>
          <p:cNvSpPr txBox="1">
            <a:spLocks noGrp="1"/>
          </p:cNvSpPr>
          <p:nvPr>
            <p:ph type="title"/>
          </p:nvPr>
        </p:nvSpPr>
        <p:spPr>
          <a:xfrm>
            <a:off x="1303338" y="1631950"/>
            <a:ext cx="7916863" cy="3026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0"/>
              <a:buFont typeface="Helvetica Neue"/>
              <a:buNone/>
              <a:defRPr sz="3600">
                <a:solidFill>
                  <a:srgbClr val="FFFF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 dirty="0"/>
          </a:p>
        </p:txBody>
      </p:sp>
      <p:pic>
        <p:nvPicPr>
          <p:cNvPr id="19" name="Google Shape;19;p66" descr="samolet_logo_sign_shadow_white.png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335" y="5932228"/>
            <a:ext cx="446441" cy="607783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66"/>
          <p:cNvSpPr/>
          <p:nvPr/>
        </p:nvSpPr>
        <p:spPr>
          <a:xfrm>
            <a:off x="-482307" y="442060"/>
            <a:ext cx="1244860" cy="4859521"/>
          </a:xfrm>
          <a:prstGeom prst="rect">
            <a:avLst/>
          </a:prstGeom>
          <a:solidFill>
            <a:srgbClr val="1888FC"/>
          </a:solidFill>
          <a:ln>
            <a:noFill/>
          </a:ln>
          <a:effectLst>
            <a:outerShdw blurRad="254000" dist="127000" dir="2700000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000"/>
              <a:buFont typeface="Arial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Google Shape;21;p66"/>
          <p:cNvSpPr/>
          <p:nvPr/>
        </p:nvSpPr>
        <p:spPr>
          <a:xfrm>
            <a:off x="9091678" y="3145919"/>
            <a:ext cx="3849622" cy="2149728"/>
          </a:xfrm>
          <a:prstGeom prst="roundRect">
            <a:avLst>
              <a:gd name="adj" fmla="val 0"/>
            </a:avLst>
          </a:prstGeom>
          <a:solidFill>
            <a:srgbClr val="1888FC"/>
          </a:solidFill>
          <a:ln>
            <a:noFill/>
          </a:ln>
          <a:effectLst>
            <a:outerShdw blurRad="254000" dist="127000" dir="2700000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000"/>
              <a:buFont typeface="Arial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2" name="Google Shape;22;p66"/>
          <p:cNvSpPr/>
          <p:nvPr/>
        </p:nvSpPr>
        <p:spPr>
          <a:xfrm>
            <a:off x="6928446" y="441160"/>
            <a:ext cx="4611622" cy="2149728"/>
          </a:xfrm>
          <a:prstGeom prst="roundRect">
            <a:avLst>
              <a:gd name="adj" fmla="val 50000"/>
            </a:avLst>
          </a:prstGeom>
          <a:solidFill>
            <a:srgbClr val="1888FC"/>
          </a:solidFill>
          <a:ln>
            <a:noFill/>
          </a:ln>
          <a:effectLst>
            <a:outerShdw blurRad="254000" dist="127000" dir="2700000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3000"/>
              <a:buFont typeface="Arial"/>
              <a:buNone/>
            </a:pPr>
            <a:endParaRPr sz="15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23" name="Google Shape;23;p66" descr="Image"/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9791" y="1119026"/>
            <a:ext cx="1868930" cy="7939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24;p66" descr="Image"/>
          <p:cNvPicPr preferRelativeResize="0"/>
          <p:nvPr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3005" y="3916892"/>
            <a:ext cx="989504" cy="6077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4284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746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3EDF574-D335-5D4B-93B6-6C6023A1C8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245BFA-0370-D84A-A6CE-6C37D24EE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64" y="328545"/>
            <a:ext cx="11284322" cy="677334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3" name="Рисунок 31" descr="Рисунок 31">
            <a:extLst>
              <a:ext uri="{FF2B5EF4-FFF2-40B4-BE49-F238E27FC236}">
                <a16:creationId xmlns:a16="http://schemas.microsoft.com/office/drawing/2014/main" id="{6F50E7C6-02E7-A323-CB2E-DACDD5ADD4BB}"/>
              </a:ext>
            </a:extLst>
          </p:cNvPr>
          <p:cNvPicPr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889" y="68807"/>
            <a:ext cx="569315" cy="369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3730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494C77-7CE6-6E48-8C19-7BCF2ADC7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4494C77-7CE6-6E48-8C19-7BCF2ADC7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62C8B126-7475-5242-A1BF-056D0A64C400}"/>
              </a:ext>
            </a:extLst>
          </p:cNvPr>
          <p:cNvGrpSpPr/>
          <p:nvPr userDrawn="1"/>
        </p:nvGrpSpPr>
        <p:grpSpPr>
          <a:xfrm>
            <a:off x="550862" y="5584596"/>
            <a:ext cx="10768779" cy="577556"/>
            <a:chOff x="808669" y="11864456"/>
            <a:chExt cx="22664723" cy="1215565"/>
          </a:xfrm>
        </p:grpSpPr>
        <p:pic>
          <p:nvPicPr>
            <p:cNvPr id="12" name="Google Shape;17;p66" descr="sml_logo_white.png">
              <a:extLst>
                <a:ext uri="{FF2B5EF4-FFF2-40B4-BE49-F238E27FC236}">
                  <a16:creationId xmlns:a16="http://schemas.microsoft.com/office/drawing/2014/main" id="{2677279C-2414-2B4F-9044-79AD0B9FF9BE}"/>
                </a:ext>
              </a:extLst>
            </p:cNvPr>
            <p:cNvPicPr preferRelativeResize="0"/>
            <p:nvPr userDrawn="1"/>
          </p:nvPicPr>
          <p:blipFill rotWithShape="1">
            <a:blip r:embed="rId5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470930" y="12021875"/>
              <a:ext cx="6002462" cy="80892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" name="Google Shape;19;p66" descr="samolet_logo_sign_shadow_white.png">
              <a:extLst>
                <a:ext uri="{FF2B5EF4-FFF2-40B4-BE49-F238E27FC236}">
                  <a16:creationId xmlns:a16="http://schemas.microsoft.com/office/drawing/2014/main" id="{DAFFE946-98AA-D74C-A09F-D8A643B87069}"/>
                </a:ext>
              </a:extLst>
            </p:cNvPr>
            <p:cNvPicPr preferRelativeResize="0"/>
            <p:nvPr userDrawn="1"/>
          </p:nvPicPr>
          <p:blipFill rotWithShape="1">
            <a:blip r:embed="rId6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669" y="11864456"/>
              <a:ext cx="892882" cy="121556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A152A837-E3DF-9845-B745-26B8CC3DCF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A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C53EAB-DEBE-DF4B-83B8-666867232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1458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494C77-7CE6-6E48-8C19-7BCF2ADC7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666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4494C77-7CE6-6E48-8C19-7BCF2ADC7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02EDB44-092A-914B-9733-BCDB3093097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A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4C390D8-F118-5740-8B90-CDBBE1B67E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6BBE04-D580-234D-B6CE-10EEBD6BC98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17E892AD-E6EE-7B42-9A9E-BF2B4F4676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062" y="6257855"/>
            <a:ext cx="1481625" cy="19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8C46DE-1272-954B-8BCD-6B883FA5888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8" name="Рисунок 50" descr="Рисунок 50">
            <a:extLst>
              <a:ext uri="{FF2B5EF4-FFF2-40B4-BE49-F238E27FC236}">
                <a16:creationId xmlns:a16="http://schemas.microsoft.com/office/drawing/2014/main" id="{CAD7ADE2-0234-B185-6315-6B8D5DC331A9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9889" y="68807"/>
            <a:ext cx="569315" cy="3690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148786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494C77-7CE6-6E48-8C19-7BCF2ADC7B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8744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4494C77-7CE6-6E48-8C19-7BCF2ADC7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E52878-3BA0-741C-89B3-024C37F5189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24285" y="444500"/>
            <a:ext cx="324274" cy="241092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pPr marL="0" marR="0" lvl="0" indent="0" algn="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Fo Sans Regular"/>
                <a:ea typeface="CoFo Sans Regular"/>
                <a:sym typeface="CoFo Sans"/>
              </a:rPr>
              <a:pPr marL="0" marR="0" lvl="0" indent="0" algn="r" defTabSz="41275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Fo Sans Regular"/>
              <a:ea typeface="CoFo Sans Regular"/>
              <a:sym typeface="CoFo San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FDC401D-8766-8CCB-27DC-929FDB728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083" y="359834"/>
            <a:ext cx="8434652" cy="1143001"/>
          </a:xfrm>
        </p:spPr>
        <p:txBody>
          <a:bodyPr/>
          <a:lstStyle/>
          <a:p>
            <a:endParaRPr lang="en-RU"/>
          </a:p>
        </p:txBody>
      </p:sp>
      <p:pic>
        <p:nvPicPr>
          <p:cNvPr id="8" name="Picture 9" descr="Picture 9">
            <a:extLst>
              <a:ext uri="{FF2B5EF4-FFF2-40B4-BE49-F238E27FC236}">
                <a16:creationId xmlns:a16="http://schemas.microsoft.com/office/drawing/2014/main" id="{8B1027A1-DA6F-7972-102C-E8796651033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1626625"/>
            <a:ext cx="13248167" cy="8833789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ounded Rectangle 1">
            <a:extLst>
              <a:ext uri="{FF2B5EF4-FFF2-40B4-BE49-F238E27FC236}">
                <a16:creationId xmlns:a16="http://schemas.microsoft.com/office/drawing/2014/main" id="{1C7AD864-28E4-F157-009D-57D162428467}"/>
              </a:ext>
            </a:extLst>
          </p:cNvPr>
          <p:cNvSpPr/>
          <p:nvPr userDrawn="1"/>
        </p:nvSpPr>
        <p:spPr>
          <a:xfrm>
            <a:off x="-1813561" y="2709857"/>
            <a:ext cx="6880174" cy="2590553"/>
          </a:xfrm>
          <a:prstGeom prst="roundRect">
            <a:avLst>
              <a:gd name="adj" fmla="val 7915"/>
            </a:avLst>
          </a:prstGeom>
          <a:solidFill>
            <a:srgbClr val="007BFC"/>
          </a:solidFill>
          <a:ln w="12700">
            <a:miter lim="400000"/>
          </a:ln>
          <a:effectLst>
            <a:outerShdw blurRad="381000" dist="190500" dir="2700000" rotWithShape="0">
              <a:srgbClr val="000000">
                <a:alpha val="25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>
                <a:solidFill>
                  <a:srgbClr val="007BFC"/>
                </a:solidFill>
                <a:latin typeface="CoFo Sans Medium"/>
                <a:ea typeface="CoFo Sans Medium"/>
                <a:cs typeface="CoFo Sans Medium"/>
                <a:sym typeface="CoFo Sans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7BFC"/>
              </a:solidFill>
              <a:effectLst/>
              <a:uLnTx/>
              <a:uFillTx/>
              <a:latin typeface="CoFo Sans Medium"/>
              <a:ea typeface="CoFo Sans Medium"/>
              <a:sym typeface="CoFo Sans Medium"/>
            </a:endParaRPr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E6A84C3C-FAC8-14BD-373A-4BA03DE89B03}"/>
              </a:ext>
            </a:extLst>
          </p:cNvPr>
          <p:cNvSpPr txBox="1"/>
          <p:nvPr userDrawn="1"/>
        </p:nvSpPr>
        <p:spPr>
          <a:xfrm>
            <a:off x="450982" y="2973639"/>
            <a:ext cx="3380878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tIns="45720" bIns="45720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5600">
                <a:solidFill>
                  <a:srgbClr val="FFFFFF"/>
                </a:solidFill>
                <a:latin typeface="CoFo Sans Medium"/>
                <a:ea typeface="CoFo Sans Medium"/>
                <a:cs typeface="CoFo Sans Medium"/>
                <a:sym typeface="CoFo Sans Medium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Отбивочный</a:t>
            </a:r>
            <a:r>
              <a:rPr kumimoji="0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 </a:t>
            </a:r>
            <a:r>
              <a:rPr kumimoji="0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слайд</a:t>
            </a:r>
            <a:r>
              <a:rPr kumimoji="0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 </a:t>
            </a:r>
            <a:r>
              <a:rPr kumimoji="0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с</a:t>
            </a:r>
            <a:r>
              <a:rPr kumimoji="0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 </a:t>
            </a:r>
            <a:r>
              <a:rPr kumimoji="0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oFo Sans Medium"/>
                <a:sym typeface="CoFo Sans Medium"/>
              </a:rPr>
              <a:t>изображением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CoFo Sans Medium"/>
              <a:sym typeface="CoFo Sans Medium"/>
            </a:endParaRPr>
          </a:p>
        </p:txBody>
      </p:sp>
      <p:sp>
        <p:nvSpPr>
          <p:cNvPr id="12" name="Rounded Rectangle 1">
            <a:extLst>
              <a:ext uri="{FF2B5EF4-FFF2-40B4-BE49-F238E27FC236}">
                <a16:creationId xmlns:a16="http://schemas.microsoft.com/office/drawing/2014/main" id="{729004AF-0F71-4BF9-F9E3-A4A03BA0E284}"/>
              </a:ext>
            </a:extLst>
          </p:cNvPr>
          <p:cNvSpPr/>
          <p:nvPr userDrawn="1"/>
        </p:nvSpPr>
        <p:spPr>
          <a:xfrm>
            <a:off x="9859692" y="5815903"/>
            <a:ext cx="4130789" cy="593640"/>
          </a:xfrm>
          <a:prstGeom prst="roundRect">
            <a:avLst>
              <a:gd name="adj" fmla="val 34539"/>
            </a:avLst>
          </a:prstGeom>
          <a:solidFill>
            <a:srgbClr val="007BFC"/>
          </a:solidFill>
          <a:ln w="12700">
            <a:miter lim="400000"/>
          </a:ln>
          <a:effectLst>
            <a:outerShdw blurRad="381000" dist="190500" dir="2700000" rotWithShape="0">
              <a:srgbClr val="000000">
                <a:alpha val="25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>
                <a:solidFill>
                  <a:srgbClr val="007BFC"/>
                </a:solidFill>
                <a:latin typeface="CoFo Sans Medium"/>
                <a:ea typeface="CoFo Sans Medium"/>
                <a:cs typeface="CoFo Sans Medium"/>
                <a:sym typeface="CoFo Sans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7BFC"/>
              </a:solidFill>
              <a:effectLst/>
              <a:uLnTx/>
              <a:uFillTx/>
              <a:latin typeface="CoFo Sans Medium"/>
              <a:ea typeface="CoFo Sans Medium"/>
              <a:sym typeface="CoFo Sans Medium"/>
            </a:endParaRPr>
          </a:p>
        </p:txBody>
      </p:sp>
      <p:pic>
        <p:nvPicPr>
          <p:cNvPr id="13" name="sml_logo_white.png" descr="sml_logo_white.png">
            <a:extLst>
              <a:ext uri="{FF2B5EF4-FFF2-40B4-BE49-F238E27FC236}">
                <a16:creationId xmlns:a16="http://schemas.microsoft.com/office/drawing/2014/main" id="{7BB81CB5-555C-52A5-4FE2-F695321215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39073" y="6003247"/>
            <a:ext cx="1597624" cy="21530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01820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F081659-2898-41C9-B122-5076DD4F49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70" imgH="371" progId="TCLayout.ActiveDocument.1">
                  <p:embed/>
                </p:oleObj>
              </mc:Choice>
              <mc:Fallback>
                <p:oleObj name="Слайд think-cell" r:id="rId3" imgW="370" imgH="371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F081659-2898-41C9-B122-5076DD4F49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9273540" y="6483898"/>
            <a:ext cx="2804160" cy="246221"/>
          </a:xfrm>
        </p:spPr>
        <p:txBody>
          <a:bodyPr lIns="0" tIns="0" rIns="0" bIns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FE3D7AE-555C-CF47-87CD-631D7C89A93F}"/>
              </a:ext>
            </a:extLst>
          </p:cNvPr>
          <p:cNvSpPr/>
          <p:nvPr userDrawn="1"/>
        </p:nvSpPr>
        <p:spPr>
          <a:xfrm>
            <a:off x="636607" y="-775504"/>
            <a:ext cx="520861" cy="520861"/>
          </a:xfrm>
          <a:prstGeom prst="roundRect">
            <a:avLst/>
          </a:prstGeom>
          <a:solidFill>
            <a:srgbClr val="495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7311653-4662-6D41-80E2-9995B79D8DE9}"/>
              </a:ext>
            </a:extLst>
          </p:cNvPr>
          <p:cNvSpPr/>
          <p:nvPr userDrawn="1"/>
        </p:nvSpPr>
        <p:spPr>
          <a:xfrm>
            <a:off x="1291541" y="-775504"/>
            <a:ext cx="520861" cy="520861"/>
          </a:xfrm>
          <a:prstGeom prst="roundRect">
            <a:avLst/>
          </a:prstGeom>
          <a:solidFill>
            <a:srgbClr val="00B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9D37068-DBC2-6A44-A716-2B33A50A1BAE}"/>
              </a:ext>
            </a:extLst>
          </p:cNvPr>
          <p:cNvSpPr/>
          <p:nvPr userDrawn="1"/>
        </p:nvSpPr>
        <p:spPr>
          <a:xfrm>
            <a:off x="1946475" y="-775504"/>
            <a:ext cx="520861" cy="520861"/>
          </a:xfrm>
          <a:prstGeom prst="roundRect">
            <a:avLst/>
          </a:prstGeom>
          <a:solidFill>
            <a:srgbClr val="915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7B0AB02-AE66-AB48-91D5-3C279C42D8AE}"/>
              </a:ext>
            </a:extLst>
          </p:cNvPr>
          <p:cNvSpPr/>
          <p:nvPr userDrawn="1"/>
        </p:nvSpPr>
        <p:spPr>
          <a:xfrm>
            <a:off x="2601410" y="-775504"/>
            <a:ext cx="520861" cy="520861"/>
          </a:xfrm>
          <a:prstGeom prst="roundRect">
            <a:avLst/>
          </a:prstGeom>
          <a:solidFill>
            <a:srgbClr val="00EB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D6E4FA2-9E8A-4244-AA23-B500793A2F1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119678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1F275E1-379B-4A71-A342-9A8E598B8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923" y="137160"/>
            <a:ext cx="10728324" cy="1325563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>
              <a:defRPr sz="2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pic>
        <p:nvPicPr>
          <p:cNvPr id="4" name="Рисунок 3" descr="http://8AFC5DDB18404681E655287C9BCDC718.dms.sberbank.ru/8AFC5DDB18404681E655287C9BCDC718-CD3236F8055D3ADE32111E1473E4AEBE-FD018408C109D18ABF389ED7C2E9F154/1.png"/>
          <p:cNvPicPr>
            <a:picLocks/>
          </p:cNvPicPr>
          <p:nvPr userDrawn="1"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" name="Рисунок 13" descr="http://8AFC5DDB18404681E655287C9BCDC718.dms.sberbank.ru/8AFC5DDB18404681E655287C9BCDC718-CD3236F8055D3ADE32111E1473E4AEBE-FD018408C109D18ABF389ED7C2E9F154/1.png"/>
          <p:cNvPicPr>
            <a:picLocks/>
          </p:cNvPicPr>
          <p:nvPr userDrawn="1"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6" name="Рисунок 15" descr="http://8AFC5DDB18404681E655287C9BCDC718.dms.sberbank.ru/8AFC5DDB18404681E655287C9BCDC718-CD3236F8055D3ADE32111E1473E4AEBE-FD018408C109D18ABF389ED7C2E9F154/1.png"/>
          <p:cNvPicPr>
            <a:picLocks/>
          </p:cNvPicPr>
          <p:nvPr userDrawn="1"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8" name="Рисунок 17" descr="http://8AFC5DDB18404681E655287C9BCDC718.dms.sberbank.ru/8AFC5DDB18404681E655287C9BCDC718-CD3236F8055D3ADE32111E1473E4AEBE-FD018408C109D18ABF389ED7C2E9F154/1.png"/>
          <p:cNvPicPr>
            <a:picLocks/>
          </p:cNvPicPr>
          <p:nvPr userDrawn="1"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037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a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6340E3-8DD1-A341-A9F0-964382FEBA81}"/>
              </a:ext>
            </a:extLst>
          </p:cNvPr>
          <p:cNvCxnSpPr>
            <a:cxnSpLocks/>
          </p:cNvCxnSpPr>
          <p:nvPr userDrawn="1"/>
        </p:nvCxnSpPr>
        <p:spPr>
          <a:xfrm flipH="1">
            <a:off x="5029200" y="914401"/>
            <a:ext cx="1" cy="50292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7AB64CF-80C7-704C-AE1B-F11DAAD3DC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2256" y="918337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8C3C89FC-0CA9-1645-9FB9-815F3DD6CE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9899" y="918337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1</a:t>
            </a:r>
            <a:endParaRPr lang="en-US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9753855C-8695-DF45-931F-0D80230E1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2256" y="1375538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9D9389A3-83A9-6B41-A8EE-5F71A631CA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9899" y="137698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2</a:t>
            </a:r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0F4BD4C-E8AD-9246-9557-B1FD5227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918337"/>
            <a:ext cx="3629643" cy="896815"/>
          </a:xfrm>
        </p:spPr>
        <p:txBody>
          <a:bodyPr/>
          <a:lstStyle>
            <a:lvl1pPr>
              <a:defRPr sz="4000" b="1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ru-RU"/>
              <a:t>Содержание</a:t>
            </a:r>
            <a:endParaRPr lang="en-US"/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113C94BB-F4AD-AF40-ABE1-A9750D682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2256" y="1832738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36" name="Text Placeholder 18">
            <a:extLst>
              <a:ext uri="{FF2B5EF4-FFF2-40B4-BE49-F238E27FC236}">
                <a16:creationId xmlns:a16="http://schemas.microsoft.com/office/drawing/2014/main" id="{071DE97A-D8C8-2C4C-B2F0-2303A055A3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9899" y="1832738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3</a:t>
            </a:r>
            <a:endParaRPr lang="en-US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0D1AC2BB-FEE7-5E45-9074-390B527CD1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52256" y="2289413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69664AB2-2D32-894E-809E-33124801CA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9899" y="2289413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4</a:t>
            </a:r>
            <a:endParaRPr lang="en-US"/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B8809356-2C5B-2E41-9D4B-2051356B5C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52256" y="2747138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990E3A02-8017-AA4B-83EB-E04CB7AFB3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09899" y="2747138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5</a:t>
            </a:r>
            <a:endParaRPr lang="en-US"/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E314D2C9-8973-5F4D-94E5-034E120750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52256" y="3207752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8D69FAD0-69BE-554C-A810-1BBCF76015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899" y="3207752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6</a:t>
            </a:r>
            <a:endParaRPr lang="en-US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61BB70E-859A-2244-878F-5329B7350E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52256" y="3661540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F802450C-4713-0E4C-B427-23D523158E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09899" y="366154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7</a:t>
            </a:r>
            <a:endParaRPr lang="en-US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02827905-DC8D-BE4B-B046-8BBAF362B6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2256" y="4118740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4D2B4E69-3515-9141-8EE7-8B8B026618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09899" y="4118740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8</a:t>
            </a:r>
            <a:endParaRPr lang="en-US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62F56D26-CC2A-DD4C-8C89-B378E55121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52256" y="4576465"/>
            <a:ext cx="6476999" cy="457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F736B308-FE53-9140-87EA-837D923F0A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9899" y="4576465"/>
            <a:ext cx="443885" cy="4572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</a:t>
            </a:r>
            <a:endParaRPr lang="en-US"/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9E0A9EC-B38A-F443-8F79-24E8264029A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10058" y="5033667"/>
            <a:ext cx="6476999" cy="45720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Section Name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8EC16AF0-89F7-5F47-B5E7-1518C4E86E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67701" y="5033667"/>
            <a:ext cx="443885" cy="457200"/>
          </a:xfrm>
        </p:spPr>
        <p:txBody>
          <a:bodyPr/>
          <a:lstStyle>
            <a:lvl1pPr>
              <a:defRPr sz="1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.1</a:t>
            </a:r>
            <a:endParaRPr lang="en-US"/>
          </a:p>
        </p:txBody>
      </p:sp>
      <p:sp>
        <p:nvSpPr>
          <p:cNvPr id="65" name="Text Placeholder 18">
            <a:extLst>
              <a:ext uri="{FF2B5EF4-FFF2-40B4-BE49-F238E27FC236}">
                <a16:creationId xmlns:a16="http://schemas.microsoft.com/office/drawing/2014/main" id="{7EA39C33-6088-064A-8333-996B3E3313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10058" y="5494279"/>
            <a:ext cx="6476999" cy="45720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Section Name</a:t>
            </a:r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26816FCF-9CFB-D446-83E1-C469D374C4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67701" y="5494279"/>
            <a:ext cx="443885" cy="457200"/>
          </a:xfrm>
        </p:spPr>
        <p:txBody>
          <a:bodyPr/>
          <a:lstStyle>
            <a:lvl1pPr>
              <a:defRPr sz="1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9.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028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4c_imag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3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2D45F97E-880F-CC43-A9F4-95754FD28F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2230" y="1187537"/>
            <a:ext cx="5524689" cy="4581438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84024458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EDE3F5-95CF-4E34-8130-920601C963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26" imgH="526" progId="TCLayout.ActiveDocument.1">
                  <p:embed/>
                </p:oleObj>
              </mc:Choice>
              <mc:Fallback>
                <p:oleObj name="Слайд think-cell" r:id="rId3" imgW="526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EDE3F5-95CF-4E34-8130-920601C96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41D6A5DC-7044-4A72-808A-2E14FA511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200" y="446400"/>
            <a:ext cx="10515600" cy="416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defRPr sz="3000" b="0">
                <a:latin typeface="+mj-lt"/>
              </a:defRPr>
            </a:lvl1pPr>
          </a:lstStyle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185AB5-EBA3-4A52-8171-C8C1A86697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011" y="6335188"/>
            <a:ext cx="1915869" cy="256032"/>
          </a:xfrm>
          <a:prstGeom prst="rect">
            <a:avLst/>
          </a:prstGeom>
        </p:spPr>
      </p:pic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0CFBD4D0-DE37-49AE-882B-B755373CF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9295" y="6350903"/>
            <a:ext cx="422705" cy="257640"/>
          </a:xfrm>
          <a:prstGeom prst="rect">
            <a:avLst/>
          </a:prstGeom>
        </p:spPr>
        <p:txBody>
          <a:bodyPr/>
          <a:lstStyle/>
          <a:p>
            <a:fld id="{38F60492-723B-4E99-AF60-56554C1B28CE}" type="slidenum">
              <a:rPr lang="ru-RU" smtClean="0">
                <a:solidFill>
                  <a:srgbClr val="2C2C2C"/>
                </a:solidFill>
              </a:rPr>
              <a:pPr/>
              <a:t>‹#›</a:t>
            </a:fld>
            <a:endParaRPr lang="ru-RU">
              <a:solidFill>
                <a:srgbClr val="2C2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1451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DE2D3D-EAF3-1A49-00D5-8177CFF00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441325"/>
            <a:ext cx="6516686" cy="5327650"/>
          </a:xfrm>
        </p:spPr>
        <p:txBody>
          <a:bodyPr>
            <a:normAutofit/>
          </a:bodyPr>
          <a:lstStyle>
            <a:lvl1pPr>
              <a:defRPr sz="7000">
                <a:solidFill>
                  <a:srgbClr val="FFFFFF"/>
                </a:solidFill>
              </a:defRPr>
            </a:lvl1pPr>
          </a:lstStyle>
          <a:p>
            <a:r>
              <a:rPr lang="ru-RU" dirty="0"/>
              <a:t>Титульный слайд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96A629B-ED5E-4ABC-9F02-76D8E2AEE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6222274"/>
            <a:ext cx="127860" cy="1944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75D6AF-73E2-0ADA-E386-14C68C0930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9888" y="6229474"/>
            <a:ext cx="1340146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64695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-Section-Title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4572000"/>
            <a:ext cx="5530849" cy="16002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type section descrip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657600"/>
            <a:ext cx="8399463" cy="685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300" baseline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7" y="1714500"/>
            <a:ext cx="5530850" cy="2286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000" b="0" i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C48D67-584C-724F-B93F-7661739AF6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152" y="6548120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6F77FD5-EF0B-E845-9066-87BCEDC16C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8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ed-Section-Title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1C433EB-B4FE-F64D-80B7-BA5ADFD2C66A}"/>
              </a:ext>
            </a:extLst>
          </p:cNvPr>
          <p:cNvSpPr/>
          <p:nvPr userDrawn="1"/>
        </p:nvSpPr>
        <p:spPr bwMode="auto">
          <a:xfrm>
            <a:off x="11006138" y="6400800"/>
            <a:ext cx="1185862" cy="457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4572000"/>
            <a:ext cx="5530849" cy="16002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400" b="0" i="0" baseline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type section descrip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657600"/>
            <a:ext cx="8399463" cy="685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300" baseline="0">
                <a:solidFill>
                  <a:schemeClr val="tx1"/>
                </a:solidFill>
                <a:latin typeface="Calibri Light" panose="020F0302020204030204" pitchFamily="34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7" y="1714500"/>
            <a:ext cx="5530850" cy="2286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000" b="0" i="0">
                <a:solidFill>
                  <a:schemeClr val="bg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1C653CD-EA97-4D41-A8E4-7BE8F6695F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828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ed-Section-Title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4572000"/>
            <a:ext cx="5530849" cy="16002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400" b="0" i="0" baseline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type section descrip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657600"/>
            <a:ext cx="8399463" cy="685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300" baseline="0">
                <a:solidFill>
                  <a:schemeClr val="tx1"/>
                </a:solidFill>
                <a:latin typeface="Calibri Light" panose="020F0302020204030204" pitchFamily="34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7" y="1714500"/>
            <a:ext cx="5530850" cy="2286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000" b="0" i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619978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-Title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499619D-4F34-1845-9A04-05112B189B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6248"/>
            <a:ext cx="539496" cy="18928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B4213DF-DE04-434E-B1E3-845E875987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83112" y="6583680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27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50" Type="http://schemas.openxmlformats.org/officeDocument/2006/relationships/image" Target="../media/image4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11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E717BF-0250-41CA-8946-545EBB6820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249442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6" imgW="592" imgH="591" progId="TCLayout.ActiveDocument.1">
                  <p:embed/>
                </p:oleObj>
              </mc:Choice>
              <mc:Fallback>
                <p:oleObj name="Слайд think-cell" r:id="rId4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9360544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n image is worth a thousand words but your titles shouldn’t b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7A0CB9-A942-1F44-B8C9-F14206525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0249" y="1142999"/>
            <a:ext cx="11106109" cy="3609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add content</a:t>
            </a:r>
          </a:p>
          <a:p>
            <a:pPr lvl="0"/>
            <a:r>
              <a:rPr lang="en-GB"/>
              <a:t>28 point left align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4"/>
            <a:endParaRPr lang="en-GB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4552012F-54E4-4434-BC7B-514373EDA4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88977" y="6420983"/>
            <a:ext cx="417094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B2B24C16-9CF8-2C4A-A121-57D53AC9D9C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6FC19CF4-2DF7-6049-9C5C-47E6C9B0180C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57046"/>
            <a:ext cx="536711" cy="18830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C0CDDD0F-9038-441C-AF56-B440F24BCCF7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1183112" y="6583681"/>
            <a:ext cx="548640" cy="13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5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  <p:sldLayoutId id="2147483826" r:id="rId24"/>
    <p:sldLayoutId id="2147483827" r:id="rId25"/>
    <p:sldLayoutId id="2147483828" r:id="rId26"/>
    <p:sldLayoutId id="2147483829" r:id="rId27"/>
    <p:sldLayoutId id="2147483830" r:id="rId28"/>
    <p:sldLayoutId id="2147483831" r:id="rId29"/>
    <p:sldLayoutId id="2147483832" r:id="rId30"/>
    <p:sldLayoutId id="2147483833" r:id="rId31"/>
    <p:sldLayoutId id="2147483834" r:id="rId32"/>
    <p:sldLayoutId id="2147483835" r:id="rId33"/>
    <p:sldLayoutId id="2147483836" r:id="rId34"/>
    <p:sldLayoutId id="2147483837" r:id="rId35"/>
    <p:sldLayoutId id="2147483838" r:id="rId36"/>
    <p:sldLayoutId id="2147483839" r:id="rId37"/>
    <p:sldLayoutId id="2147483840" r:id="rId38"/>
    <p:sldLayoutId id="2147483841" r:id="rId39"/>
    <p:sldLayoutId id="2147483842" r:id="rId40"/>
    <p:sldLayoutId id="2147483843" r:id="rId41"/>
    <p:sldLayoutId id="2147483844" r:id="rId42"/>
    <p:sldLayoutId id="2147483845" r:id="rId4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Calibri Light" panose="020F03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lang="en-GB" sz="1400" b="0" i="0" kern="1200" baseline="0">
          <a:solidFill>
            <a:schemeClr val="tx1"/>
          </a:solidFill>
          <a:latin typeface="+mj-lt"/>
          <a:ea typeface="Source Sans Pro" panose="020B0503030403020204" pitchFamily="34" charset="0"/>
          <a:cs typeface="Calibri" panose="020F0502020204030204" pitchFamily="34" charset="0"/>
        </a:defRPr>
      </a:lvl1pPr>
      <a:lvl2pPr marL="635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lang="en-GB" sz="1400" b="0" i="0" kern="1200">
          <a:solidFill>
            <a:schemeClr val="tx1"/>
          </a:solidFill>
          <a:latin typeface="+mj-lt"/>
          <a:ea typeface="Source Sans Pro" panose="020B0503030403020204" pitchFamily="34" charset="0"/>
          <a:cs typeface="Calibri" panose="020F0502020204030204" pitchFamily="34" charset="0"/>
        </a:defRPr>
      </a:lvl2pPr>
      <a:lvl3pPr marL="180975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lang="en-GB" sz="1400" b="0" i="0" kern="1200">
          <a:solidFill>
            <a:schemeClr val="tx1"/>
          </a:solidFill>
          <a:latin typeface="+mj-lt"/>
          <a:ea typeface="Source Sans Pro" panose="020B0503030403020204" pitchFamily="34" charset="0"/>
          <a:cs typeface="Calibri" panose="020F0502020204030204" pitchFamily="34" charset="0"/>
        </a:defRPr>
      </a:lvl3pPr>
      <a:lvl4pPr marL="352425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lang="en-GB" sz="1400" b="0" i="0" kern="1200">
          <a:solidFill>
            <a:schemeClr val="tx1"/>
          </a:solidFill>
          <a:latin typeface="+mj-lt"/>
          <a:ea typeface="Source Sans Pro" panose="020B0503030403020204" pitchFamily="34" charset="0"/>
          <a:cs typeface="Calibri" panose="020F0502020204030204" pitchFamily="34" charset="0"/>
        </a:defRPr>
      </a:lvl4pPr>
      <a:lvl5pPr marL="525463" indent="-17145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lang="en-US" sz="1400" b="0" i="0" kern="1200" dirty="0">
          <a:solidFill>
            <a:schemeClr val="tx1"/>
          </a:solidFill>
          <a:latin typeface="+mj-lt"/>
          <a:ea typeface="Source Sans Pro" panose="020B050303040302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288">
          <p15:clr>
            <a:srgbClr val="F26B43"/>
          </p15:clr>
        </p15:guide>
        <p15:guide id="18" orient="horz" pos="432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20">
          <p15:clr>
            <a:srgbClr val="F26B43"/>
          </p15:clr>
        </p15:guide>
        <p15:guide id="21" orient="horz" pos="864">
          <p15:clr>
            <a:srgbClr val="F26B43"/>
          </p15:clr>
        </p15:guide>
        <p15:guide id="22" orient="horz" pos="1008">
          <p15:clr>
            <a:srgbClr val="F26B43"/>
          </p15:clr>
        </p15:guide>
        <p15:guide id="23" orient="horz" pos="1152">
          <p15:clr>
            <a:srgbClr val="F26B43"/>
          </p15:clr>
        </p15:guide>
        <p15:guide id="24" orient="horz" pos="1296">
          <p15:clr>
            <a:srgbClr val="F26B43"/>
          </p15:clr>
        </p15:guide>
        <p15:guide id="25" orient="horz" pos="1440">
          <p15:clr>
            <a:srgbClr val="F26B43"/>
          </p15:clr>
        </p15:guide>
        <p15:guide id="26" orient="horz" pos="1584">
          <p15:clr>
            <a:srgbClr val="F26B43"/>
          </p15:clr>
        </p15:guide>
        <p15:guide id="27" orient="horz" pos="1728">
          <p15:clr>
            <a:srgbClr val="F26B43"/>
          </p15:clr>
        </p15:guide>
        <p15:guide id="28" orient="horz" pos="1872">
          <p15:clr>
            <a:srgbClr val="F26B43"/>
          </p15:clr>
        </p15:guide>
        <p15:guide id="29" orient="horz" pos="2016">
          <p15:clr>
            <a:srgbClr val="F26B43"/>
          </p15:clr>
        </p15:guide>
        <p15:guide id="30" orient="horz" pos="2304">
          <p15:clr>
            <a:srgbClr val="F26B43"/>
          </p15:clr>
        </p15:guide>
        <p15:guide id="31" orient="horz" pos="2448">
          <p15:clr>
            <a:srgbClr val="F26B43"/>
          </p15:clr>
        </p15:guide>
        <p15:guide id="32" orient="horz" pos="2592">
          <p15:clr>
            <a:srgbClr val="F26B43"/>
          </p15:clr>
        </p15:guide>
        <p15:guide id="33" orient="horz" pos="2736">
          <p15:clr>
            <a:srgbClr val="F26B43"/>
          </p15:clr>
        </p15:guide>
        <p15:guide id="34" orient="horz" pos="2880">
          <p15:clr>
            <a:srgbClr val="F26B43"/>
          </p15:clr>
        </p15:guide>
        <p15:guide id="35" orient="horz" pos="3024">
          <p15:clr>
            <a:srgbClr val="F26B43"/>
          </p15:clr>
        </p15:guide>
        <p15:guide id="36" orient="horz" pos="3168">
          <p15:clr>
            <a:srgbClr val="F26B43"/>
          </p15:clr>
        </p15:guide>
        <p15:guide id="37" orient="horz" pos="3312">
          <p15:clr>
            <a:srgbClr val="F26B43"/>
          </p15:clr>
        </p15:guide>
        <p15:guide id="38" orient="horz" pos="3456">
          <p15:clr>
            <a:srgbClr val="F26B43"/>
          </p15:clr>
        </p15:guide>
        <p15:guide id="39" orient="horz" pos="3600">
          <p15:clr>
            <a:srgbClr val="F26B43"/>
          </p15:clr>
        </p15:guide>
        <p15:guide id="40" orient="horz" pos="3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2" pos="894">
          <p15:clr>
            <a:srgbClr val="F26B43"/>
          </p15:clr>
        </p15:guide>
        <p15:guide id="63" pos="750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6" pos="1958">
          <p15:clr>
            <a:srgbClr val="F26B43"/>
          </p15:clr>
        </p15:guide>
        <p15:guide id="67" pos="2104">
          <p15:clr>
            <a:srgbClr val="F26B43"/>
          </p15:clr>
        </p15:guide>
        <p15:guide id="68" pos="2710">
          <p15:clr>
            <a:srgbClr val="F26B43"/>
          </p15:clr>
        </p15:guide>
        <p15:guide id="69" pos="2565">
          <p15:clr>
            <a:srgbClr val="F26B43"/>
          </p15:clr>
        </p15:guide>
        <p15:guide id="71" pos="31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4" pos="4368">
          <p15:clr>
            <a:srgbClr val="F26B43"/>
          </p15:clr>
        </p15:guide>
        <p15:guide id="75" pos="4523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78" pos="5579">
          <p15:clr>
            <a:srgbClr val="F26B43"/>
          </p15:clr>
        </p15:guide>
        <p15:guide id="79" pos="5726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  <p15:guide id="82" pos="6793">
          <p15:clr>
            <a:srgbClr val="F26B43"/>
          </p15:clr>
        </p15:guide>
        <p15:guide id="83" pos="6933">
          <p15:clr>
            <a:srgbClr val="F26B43"/>
          </p15:clr>
        </p15:guide>
        <p15:guide id="84" pos="33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4C95AC-6044-4FAF-AEE8-A6E557FBE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421" imgH="423" progId="TCLayout.ActiveDocument.1">
                  <p:embed/>
                </p:oleObj>
              </mc:Choice>
              <mc:Fallback>
                <p:oleObj name="Слайд think-cell" r:id="rId13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04C95AC-6044-4FAF-AEE8-A6E557FBE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28545"/>
            <a:ext cx="11196824" cy="67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78C296-11CF-A541-87AC-DD7BC7DA82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1057" y="6515589"/>
            <a:ext cx="2756630" cy="198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6BBE04-D580-234D-B6CE-10EEBD6BC98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611829C9-D6DC-4250-87FE-9BD1ADE8487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062" y="6257855"/>
            <a:ext cx="148162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24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62" r:id="rId5"/>
    <p:sldLayoutId id="2147483856" r:id="rId6"/>
    <p:sldLayoutId id="2147483860" r:id="rId7"/>
    <p:sldLayoutId id="2147483861" r:id="rId8"/>
    <p:sldLayoutId id="2147483863" r:id="rId9"/>
  </p:sldLayoutIdLst>
  <p:hf hdr="0" ft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 i="0">
          <a:solidFill>
            <a:srgbClr val="000000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347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pos="74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2.xml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1.xml"/><Relationship Id="rId6" Type="http://schemas.openxmlformats.org/officeDocument/2006/relationships/image" Target="../media/image45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2.xml"/><Relationship Id="rId6" Type="http://schemas.openxmlformats.org/officeDocument/2006/relationships/image" Target="../media/image46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3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image" Target="../media/image3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3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5.xml"/><Relationship Id="rId5" Type="http://schemas.openxmlformats.org/officeDocument/2006/relationships/image" Target="../media/image51.png"/><Relationship Id="rId4" Type="http://schemas.openxmlformats.org/officeDocument/2006/relationships/image" Target="../media/image3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6.xml"/><Relationship Id="rId5" Type="http://schemas.openxmlformats.org/officeDocument/2006/relationships/image" Target="../media/image52.png"/><Relationship Id="rId4" Type="http://schemas.openxmlformats.org/officeDocument/2006/relationships/image" Target="../media/image3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4.xml"/><Relationship Id="rId5" Type="http://schemas.openxmlformats.org/officeDocument/2006/relationships/image" Target="../media/image35.png"/><Relationship Id="rId4" Type="http://schemas.openxmlformats.org/officeDocument/2006/relationships/image" Target="../media/image3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5.xml"/><Relationship Id="rId6" Type="http://schemas.openxmlformats.org/officeDocument/2006/relationships/image" Target="../media/image37.jpeg"/><Relationship Id="rId5" Type="http://schemas.openxmlformats.org/officeDocument/2006/relationships/image" Target="../media/image36.gif"/><Relationship Id="rId4" Type="http://schemas.openxmlformats.org/officeDocument/2006/relationships/image" Target="../media/image3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6.xml"/><Relationship Id="rId4" Type="http://schemas.openxmlformats.org/officeDocument/2006/relationships/image" Target="../media/image3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7.xml"/><Relationship Id="rId6" Type="http://schemas.openxmlformats.org/officeDocument/2006/relationships/image" Target="../media/image39.jpeg"/><Relationship Id="rId5" Type="http://schemas.openxmlformats.org/officeDocument/2006/relationships/image" Target="../media/image38.png"/><Relationship Id="rId4" Type="http://schemas.openxmlformats.org/officeDocument/2006/relationships/image" Target="../media/image3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8.xml"/><Relationship Id="rId5" Type="http://schemas.openxmlformats.org/officeDocument/2006/relationships/image" Target="../media/image41.png"/><Relationship Id="rId4" Type="http://schemas.openxmlformats.org/officeDocument/2006/relationships/image" Target="../media/image3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9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3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0.xml"/><Relationship Id="rId5" Type="http://schemas.openxmlformats.org/officeDocument/2006/relationships/image" Target="../media/image44.png"/><Relationship Id="rId4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онтекстуальные эмбеддинги для задачи метчинга товаров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FF9C233-1C7C-AF33-3F17-95E8B7FB81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30534" y="1173169"/>
            <a:ext cx="5044248" cy="504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14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37"/>
    </mc:Choice>
    <mc:Fallback xmlns="">
      <p:transition spd="slow" advTm="2037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90" imgH="490" progId="TCLayout.ActiveDocument.1">
                  <p:embed/>
                </p:oleObj>
              </mc:Choice>
              <mc:Fallback>
                <p:oleObj name="Слайд think-cell" r:id="rId4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  <a:t>Немного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Linux Libertine"/>
              </a:rPr>
              <a:t>матана</a:t>
            </a:r>
            <a:b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</a:b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69909F-0EE1-2FF9-4FE7-57B38253D1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364" y="1427043"/>
            <a:ext cx="6986634" cy="25755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85283E7-F081-E660-C953-585F55BABB9B}"/>
              </a:ext>
            </a:extLst>
          </p:cNvPr>
          <p:cNvSpPr txBox="1"/>
          <p:nvPr/>
        </p:nvSpPr>
        <p:spPr>
          <a:xfrm>
            <a:off x="463364" y="4314201"/>
            <a:ext cx="990999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D0D0D"/>
                </a:solidFill>
                <a:latin typeface="Söhne"/>
              </a:rPr>
              <a:t>Р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асстояние </a:t>
            </a:r>
            <a:r>
              <a:rPr lang="ru-RU" b="0" i="0" dirty="0" err="1">
                <a:solidFill>
                  <a:srgbClr val="0D0D0D"/>
                </a:solidFill>
                <a:effectLst/>
                <a:latin typeface="Söhne"/>
              </a:rPr>
              <a:t>Махаланобиса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 можно рассматривать как эквивалентное евклидову расстоянию после определенного линейного преобразования данных. Это линейное преобразование изменяет исходное пространство признаков таким образом, что учитывается корреляция между признаками и их дисперсии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6163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90" imgH="490" progId="TCLayout.ActiveDocument.1">
                  <p:embed/>
                </p:oleObj>
              </mc:Choice>
              <mc:Fallback>
                <p:oleObj name="Слайд think-cell" r:id="rId4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>Triplet loss</a:t>
            </a:r>
            <a:b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</a:b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C518FD1-0D27-E4F0-A94B-3647D8A790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833" y="1081728"/>
            <a:ext cx="6349535" cy="514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167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ак учить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6" name="Picture 4" descr="The funniest Barbenheimer memes | indy100">
            <a:extLst>
              <a:ext uri="{FF2B5EF4-FFF2-40B4-BE49-F238E27FC236}">
                <a16:creationId xmlns:a16="http://schemas.microsoft.com/office/drawing/2014/main" id="{5CCD6408-E171-F589-FA6F-2D4BD326F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3040" y="1313672"/>
            <a:ext cx="7001120" cy="350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5FD52C-66A6-F519-EC29-8C4786A4333E}"/>
              </a:ext>
            </a:extLst>
          </p:cNvPr>
          <p:cNvSpPr txBox="1"/>
          <p:nvPr/>
        </p:nvSpPr>
        <p:spPr>
          <a:xfrm>
            <a:off x="3406775" y="5119633"/>
            <a:ext cx="2689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ine-tune BERT</a:t>
            </a:r>
            <a:endParaRPr lang="ru-RU" dirty="0"/>
          </a:p>
        </p:txBody>
      </p:sp>
      <p:pic>
        <p:nvPicPr>
          <p:cNvPr id="3078" name="Picture 6" descr="Logo">
            <a:extLst>
              <a:ext uri="{FF2B5EF4-FFF2-40B4-BE49-F238E27FC236}">
                <a16:creationId xmlns:a16="http://schemas.microsoft.com/office/drawing/2014/main" id="{C8178B14-D142-AE6F-874B-ADA2FFD789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813" y="4988840"/>
            <a:ext cx="1564360" cy="782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477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 dirty="0" err="1"/>
              <a:t>MultipleNegativesRankingLoss</a:t>
            </a: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EA85919-BA3A-4FEF-F75B-6D66507612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447" y="1131251"/>
            <a:ext cx="3467100" cy="3175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C3E5B1-C825-FB0E-E705-7706C6E30B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3115" y="1131251"/>
            <a:ext cx="5753762" cy="243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148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ак увеличить качество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1EF0B24-D6C5-24A3-57D1-1FEBAC4B56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092" y="1173168"/>
            <a:ext cx="7325200" cy="488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057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ard negatives</a:t>
            </a: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BDB7060-E59E-4631-00C2-0F46698439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64855" y="1445517"/>
            <a:ext cx="7772400" cy="416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016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5045" y="427294"/>
            <a:ext cx="8744629" cy="1457144"/>
          </a:xfrm>
        </p:spPr>
        <p:txBody>
          <a:bodyPr>
            <a:normAutofit/>
          </a:bodyPr>
          <a:lstStyle/>
          <a:p>
            <a:r>
              <a:rPr lang="ru-RU" sz="4800" dirty="0"/>
              <a:t>Мой канал про </a:t>
            </a:r>
            <a:r>
              <a:rPr lang="en-US" sz="4800" dirty="0"/>
              <a:t>nlp</a:t>
            </a:r>
            <a:r>
              <a:rPr lang="ru-RU" sz="4800" dirty="0"/>
              <a:t>: </a:t>
            </a:r>
            <a:r>
              <a:rPr lang="en-US" sz="4800" dirty="0"/>
              <a:t>nlp_daily</a:t>
            </a:r>
            <a:endParaRPr lang="ru-RU" sz="4800" dirty="0"/>
          </a:p>
        </p:txBody>
      </p:sp>
      <p:sp>
        <p:nvSpPr>
          <p:cNvPr id="3" name="Скругленный прямоугольник 1">
            <a:extLst>
              <a:ext uri="{FF2B5EF4-FFF2-40B4-BE49-F238E27FC236}">
                <a16:creationId xmlns:a16="http://schemas.microsoft.com/office/drawing/2014/main" id="{AA3EC666-C835-A906-D4D9-224684269D00}"/>
              </a:ext>
            </a:extLst>
          </p:cNvPr>
          <p:cNvSpPr/>
          <p:nvPr/>
        </p:nvSpPr>
        <p:spPr>
          <a:xfrm>
            <a:off x="1045045" y="1985561"/>
            <a:ext cx="3810000" cy="3528695"/>
          </a:xfrm>
          <a:prstGeom prst="roundRect">
            <a:avLst>
              <a:gd name="adj" fmla="val 5617"/>
            </a:avLst>
          </a:prstGeom>
          <a:solidFill>
            <a:srgbClr val="007BFC"/>
          </a:solidFill>
          <a:ln w="25400" cap="flat">
            <a:noFill/>
            <a:prstDash val="solid"/>
            <a:round/>
          </a:ln>
          <a:effectLst>
            <a:outerShdw blurRad="431800" dist="304800" dir="8460000" sx="108000" sy="108000" algn="ctr">
              <a:srgbClr val="000000">
                <a:alpha val="23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21594000"/>
            </a:lightRig>
          </a:scene3d>
          <a:sp3d prstMaterial="metal">
            <a:bevelT w="0" h="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CoFo San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4F2BB42-FDF0-FF84-F71F-182D9D5FCE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065" y="2131928"/>
            <a:ext cx="3235960" cy="323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071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5045" y="427294"/>
            <a:ext cx="8744629" cy="1457144"/>
          </a:xfrm>
        </p:spPr>
        <p:txBody>
          <a:bodyPr>
            <a:normAutofit fontScale="90000"/>
          </a:bodyPr>
          <a:lstStyle/>
          <a:p>
            <a:r>
              <a:rPr lang="ru-RU" sz="4800" dirty="0"/>
              <a:t>Поделись впечатлениями </a:t>
            </a:r>
            <a:br>
              <a:rPr lang="ru-RU" sz="4800" dirty="0"/>
            </a:br>
            <a:r>
              <a:rPr lang="ru-RU" sz="4800" dirty="0"/>
              <a:t>о семинаре</a:t>
            </a:r>
          </a:p>
        </p:txBody>
      </p:sp>
      <p:sp>
        <p:nvSpPr>
          <p:cNvPr id="3" name="Скругленный прямоугольник 1">
            <a:extLst>
              <a:ext uri="{FF2B5EF4-FFF2-40B4-BE49-F238E27FC236}">
                <a16:creationId xmlns:a16="http://schemas.microsoft.com/office/drawing/2014/main" id="{AA3EC666-C835-A906-D4D9-224684269D00}"/>
              </a:ext>
            </a:extLst>
          </p:cNvPr>
          <p:cNvSpPr/>
          <p:nvPr/>
        </p:nvSpPr>
        <p:spPr>
          <a:xfrm>
            <a:off x="1045045" y="1985561"/>
            <a:ext cx="3810000" cy="3528695"/>
          </a:xfrm>
          <a:prstGeom prst="roundRect">
            <a:avLst>
              <a:gd name="adj" fmla="val 5617"/>
            </a:avLst>
          </a:prstGeom>
          <a:solidFill>
            <a:srgbClr val="007BFC"/>
          </a:solidFill>
          <a:ln w="25400" cap="flat">
            <a:noFill/>
            <a:prstDash val="solid"/>
            <a:round/>
          </a:ln>
          <a:effectLst>
            <a:outerShdw blurRad="431800" dist="304800" dir="8460000" sx="108000" sy="108000" algn="ctr">
              <a:srgbClr val="000000">
                <a:alpha val="23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21594000"/>
            </a:lightRig>
          </a:scene3d>
          <a:sp3d prstMaterial="metal">
            <a:bevelT w="0" h="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CoFo San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945" y="2187808"/>
            <a:ext cx="3124200" cy="3124200"/>
          </a:xfrm>
          <a:prstGeom prst="rect">
            <a:avLst/>
          </a:prstGeom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045045" y="5908092"/>
            <a:ext cx="6516686" cy="5708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 fontScale="97500"/>
          </a:bodyPr>
          <a:lstStyle>
            <a:lvl1pPr marL="0" marR="0" indent="0" algn="l" defTabSz="4127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solidFill>
                  <a:srgbClr val="FFFFFF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1pPr>
            <a:lvl2pPr marL="0" marR="0" indent="114306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2pPr>
            <a:lvl3pPr marL="0" marR="0" indent="228611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3pPr>
            <a:lvl4pPr marL="0" marR="0" indent="342917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4pPr>
            <a:lvl5pPr marL="0" marR="0" indent="457223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5pPr>
            <a:lvl6pPr marL="0" marR="0" indent="571529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6pPr>
            <a:lvl7pPr marL="0" marR="0" indent="685834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7pPr>
            <a:lvl8pPr marL="0" marR="0" indent="800140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8pPr>
            <a:lvl9pPr marL="0" marR="0" indent="914446" algn="l" defTabSz="4127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CoFo Sans Medium"/>
                <a:ea typeface="CoFo Sans Medium"/>
                <a:cs typeface="CoFo Sans Medium"/>
                <a:sym typeface="CoFo Sans Medium"/>
              </a:defRPr>
            </a:lvl9pPr>
          </a:lstStyle>
          <a:p>
            <a:r>
              <a:rPr lang="ru-RU" sz="3600" kern="0" dirty="0"/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235840141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50 оттенков арматуры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pic>
        <p:nvPicPr>
          <p:cNvPr id="83" name="Рисунок 8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46" y="984363"/>
            <a:ext cx="3340651" cy="5108462"/>
          </a:xfrm>
          <a:prstGeom prst="roundRect">
            <a:avLst>
              <a:gd name="adj" fmla="val 3530"/>
            </a:avLst>
          </a:prstGeom>
          <a:effectLst>
            <a:outerShdw blurRad="444500" sx="101000" sy="101000" algn="ctr" rotWithShape="0">
              <a:srgbClr val="000000">
                <a:alpha val="9000"/>
              </a:srgbClr>
            </a:outerShdw>
          </a:effectLst>
        </p:spPr>
      </p:pic>
      <p:sp>
        <p:nvSpPr>
          <p:cNvPr id="84" name="Прямоугольник: скругленные углы 83"/>
          <p:cNvSpPr/>
          <p:nvPr/>
        </p:nvSpPr>
        <p:spPr>
          <a:xfrm>
            <a:off x="545054" y="3197571"/>
            <a:ext cx="3177834" cy="412709"/>
          </a:xfrm>
          <a:prstGeom prst="roundRect">
            <a:avLst>
              <a:gd name="adj" fmla="val 28575"/>
            </a:avLst>
          </a:prstGeom>
          <a:noFill/>
          <a:ln w="381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>
              <a:ln>
                <a:noFill/>
              </a:ln>
              <a:solidFill>
                <a:srgbClr val="7F7F7F"/>
              </a:solidFill>
              <a:effectLst/>
              <a:uFillTx/>
              <a:sym typeface="CoFo San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9081" y="984363"/>
            <a:ext cx="7430007" cy="969945"/>
          </a:xfrm>
          <a:prstGeom prst="roundRect">
            <a:avLst>
              <a:gd name="adj" fmla="val 12158"/>
            </a:avLst>
          </a:prstGeom>
          <a:effectLst>
            <a:outerShdw blurRad="444500" sx="101000" sy="101000" algn="ctr" rotWithShape="0">
              <a:srgbClr val="000000">
                <a:alpha val="9000"/>
              </a:srgbClr>
            </a:outerShdw>
          </a:effectLst>
        </p:spPr>
      </p:pic>
      <p:sp>
        <p:nvSpPr>
          <p:cNvPr id="57" name="TextBox 56"/>
          <p:cNvSpPr txBox="1"/>
          <p:nvPr/>
        </p:nvSpPr>
        <p:spPr>
          <a:xfrm>
            <a:off x="4319081" y="4924515"/>
            <a:ext cx="2859932" cy="1168309"/>
          </a:xfrm>
          <a:prstGeom prst="roundRect">
            <a:avLst>
              <a:gd name="adj" fmla="val 10094"/>
            </a:avLst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444500" algn="ctr" rotWithShape="0">
              <a:prstClr val="black">
                <a:alpha val="1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 anchorCtr="0">
            <a:noAutofit/>
          </a:bodyPr>
          <a:lstStyle>
            <a:defPPr>
              <a:defRPr lang="ru-RU"/>
            </a:defPPr>
            <a:lvl1pPr hangingPunct="0">
              <a:buClr>
                <a:srgbClr val="007FFF"/>
              </a:buClr>
              <a:defRPr kern="0"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ru-RU" sz="1600" b="1" dirty="0"/>
              <a:t>Во3духов0д(</a:t>
            </a:r>
            <a:r>
              <a:rPr lang="ru-RU" sz="1600" b="1" dirty="0" err="1"/>
              <a:t>Пр</a:t>
            </a:r>
            <a:r>
              <a:rPr lang="ru-RU" sz="1600" b="1" dirty="0"/>
              <a:t>) - 300</a:t>
            </a:r>
            <a:r>
              <a:rPr lang="en-US" sz="1600" b="1" dirty="0"/>
              <a:t>x300</a:t>
            </a:r>
            <a:br>
              <a:rPr lang="en-US" sz="1600" b="1" dirty="0"/>
            </a:br>
            <a:r>
              <a:rPr lang="en-US" sz="1600" b="1" dirty="0"/>
              <a:t>- 1500 (</a:t>
            </a:r>
            <a:r>
              <a:rPr lang="en-US" sz="1600" b="1" dirty="0" err="1"/>
              <a:t>ou</a:t>
            </a:r>
            <a:r>
              <a:rPr lang="en-US" sz="1600" b="1" dirty="0"/>
              <a:t>. </a:t>
            </a:r>
            <a:r>
              <a:rPr lang="ru-RU" sz="1600" b="1" dirty="0"/>
              <a:t>ст. 0.80/100 </a:t>
            </a:r>
            <a:br>
              <a:rPr lang="ru-RU" sz="1600" b="1" dirty="0"/>
            </a:br>
            <a:r>
              <a:rPr lang="ru-RU" sz="1600" b="1" dirty="0"/>
              <a:t>- Шина </a:t>
            </a:r>
            <a:r>
              <a:rPr lang="en-US" sz="1600" b="1" dirty="0"/>
              <a:t>R20x950) B4/2an</a:t>
            </a:r>
          </a:p>
          <a:p>
            <a:r>
              <a:rPr lang="en-US" sz="1600" b="1" dirty="0"/>
              <a:t>ou.cT.0.8mm.</a:t>
            </a:r>
            <a:endParaRPr lang="ru-RU" sz="1600" b="1" dirty="0">
              <a:sym typeface="Calibri"/>
            </a:endParaRPr>
          </a:p>
        </p:txBody>
      </p:sp>
      <p:sp>
        <p:nvSpPr>
          <p:cNvPr id="12" name="Стрелка: шеврон 11">
            <a:extLst>
              <a:ext uri="{FF2B5EF4-FFF2-40B4-BE49-F238E27FC236}">
                <a16:creationId xmlns:a16="http://schemas.microsoft.com/office/drawing/2014/main" id="{10016050-0BF2-0AC6-EC83-35316ADD2701}"/>
              </a:ext>
            </a:extLst>
          </p:cNvPr>
          <p:cNvSpPr/>
          <p:nvPr/>
        </p:nvSpPr>
        <p:spPr>
          <a:xfrm>
            <a:off x="7344775" y="5221703"/>
            <a:ext cx="252137" cy="573932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" name="Стрелка: шеврон 8">
            <a:extLst>
              <a:ext uri="{FF2B5EF4-FFF2-40B4-BE49-F238E27FC236}">
                <a16:creationId xmlns:a16="http://schemas.microsoft.com/office/drawing/2014/main" id="{DD8A5CF2-5580-0E53-C28D-9E0CA333162B}"/>
              </a:ext>
            </a:extLst>
          </p:cNvPr>
          <p:cNvSpPr/>
          <p:nvPr/>
        </p:nvSpPr>
        <p:spPr>
          <a:xfrm>
            <a:off x="7344775" y="2378214"/>
            <a:ext cx="252137" cy="573932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319081" y="2081026"/>
            <a:ext cx="2859932" cy="1168309"/>
          </a:xfrm>
          <a:prstGeom prst="roundRect">
            <a:avLst>
              <a:gd name="adj" fmla="val 10094"/>
            </a:avLst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444500" algn="ctr" rotWithShape="0">
              <a:prstClr val="black">
                <a:alpha val="1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 anchorCtr="0">
            <a:noAutofit/>
          </a:bodyPr>
          <a:lstStyle>
            <a:defPPr>
              <a:defRPr lang="ru-RU"/>
            </a:defPPr>
            <a:lvl1pPr hangingPunct="0">
              <a:buClr>
                <a:srgbClr val="007FFF"/>
              </a:buClr>
              <a:defRPr kern="0"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ru-RU" sz="1600" b="1" dirty="0" err="1">
                <a:sym typeface="Calibri"/>
              </a:rPr>
              <a:t>Арм</a:t>
            </a:r>
            <a:r>
              <a:rPr lang="ru-RU" sz="1600" b="1" dirty="0">
                <a:sym typeface="Calibri"/>
              </a:rPr>
              <a:t>. Пруток ф16</a:t>
            </a:r>
            <a:br>
              <a:rPr lang="en-US" sz="1600" b="1" dirty="0">
                <a:sym typeface="Calibri"/>
              </a:rPr>
            </a:br>
            <a:r>
              <a:rPr lang="en-US" sz="1600" b="1" dirty="0">
                <a:sym typeface="Calibri"/>
              </a:rPr>
              <a:t>AS00</a:t>
            </a:r>
            <a:r>
              <a:rPr lang="ru-RU" sz="1600" b="1" dirty="0">
                <a:sym typeface="Calibri"/>
              </a:rPr>
              <a:t>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319081" y="3502771"/>
            <a:ext cx="2859932" cy="1168309"/>
          </a:xfrm>
          <a:prstGeom prst="roundRect">
            <a:avLst>
              <a:gd name="adj" fmla="val 10094"/>
            </a:avLst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444500" algn="ctr" rotWithShape="0">
              <a:prstClr val="black">
                <a:alpha val="1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ctr" anchorCtr="0">
            <a:noAutofit/>
          </a:bodyPr>
          <a:lstStyle>
            <a:defPPr>
              <a:defRPr lang="ru-RU"/>
            </a:defPPr>
            <a:lvl1pPr hangingPunct="0">
              <a:buClr>
                <a:srgbClr val="007FFF"/>
              </a:buClr>
              <a:defRPr kern="0"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ru-RU" sz="1600" b="1" dirty="0"/>
              <a:t>Бетон БСТ</a:t>
            </a:r>
            <a:br>
              <a:rPr lang="en-US" sz="1600" b="1" dirty="0"/>
            </a:br>
            <a:r>
              <a:rPr lang="ru-RU" sz="1600" b="1" dirty="0"/>
              <a:t>В25П4РЕ(1)200\/</a:t>
            </a:r>
            <a:br>
              <a:rPr lang="en-US" sz="1600" b="1" dirty="0"/>
            </a:br>
            <a:r>
              <a:rPr lang="ru-RU" sz="1600" b="1" dirty="0"/>
              <a:t>/8 Щебень</a:t>
            </a:r>
            <a:br>
              <a:rPr lang="en-US" sz="1600" b="1" dirty="0"/>
            </a:br>
            <a:r>
              <a:rPr lang="ru-RU" sz="1600" b="1" dirty="0"/>
              <a:t>гравийный 5-20</a:t>
            </a:r>
            <a:endParaRPr lang="ru-RU" sz="1600" b="1" dirty="0">
              <a:sym typeface="Calibri"/>
            </a:endParaRPr>
          </a:p>
        </p:txBody>
      </p:sp>
      <p:sp>
        <p:nvSpPr>
          <p:cNvPr id="11" name="Стрелка: шеврон 10">
            <a:extLst>
              <a:ext uri="{FF2B5EF4-FFF2-40B4-BE49-F238E27FC236}">
                <a16:creationId xmlns:a16="http://schemas.microsoft.com/office/drawing/2014/main" id="{C4710B18-EE5F-002E-6343-FFBC017E7AB3}"/>
              </a:ext>
            </a:extLst>
          </p:cNvPr>
          <p:cNvSpPr/>
          <p:nvPr/>
        </p:nvSpPr>
        <p:spPr>
          <a:xfrm>
            <a:off x="7344775" y="3799959"/>
            <a:ext cx="252137" cy="573932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0EBA6C29-A79B-CD7E-8B37-743FA5786E9A}"/>
              </a:ext>
            </a:extLst>
          </p:cNvPr>
          <p:cNvSpPr/>
          <p:nvPr/>
        </p:nvSpPr>
        <p:spPr>
          <a:xfrm>
            <a:off x="7762675" y="4419564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Категория: </a:t>
            </a:r>
            <a:r>
              <a:rPr lang="ru-RU" sz="1400" b="1" dirty="0">
                <a:solidFill>
                  <a:schemeClr val="tx1"/>
                </a:solidFill>
              </a:rPr>
              <a:t>Бетон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55C9D092-67F1-DE23-2303-4D0B2B8D103F}"/>
              </a:ext>
            </a:extLst>
          </p:cNvPr>
          <p:cNvSpPr/>
          <p:nvPr/>
        </p:nvSpPr>
        <p:spPr>
          <a:xfrm>
            <a:off x="7762675" y="4113966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Наполнение: </a:t>
            </a:r>
            <a:r>
              <a:rPr lang="ru-RU" sz="1400" b="1" dirty="0">
                <a:solidFill>
                  <a:schemeClr val="tx1"/>
                </a:solidFill>
              </a:rPr>
              <a:t>Гравий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59AA42EA-BA38-EFD8-CB3D-4BC6127F63AB}"/>
              </a:ext>
            </a:extLst>
          </p:cNvPr>
          <p:cNvSpPr/>
          <p:nvPr/>
        </p:nvSpPr>
        <p:spPr>
          <a:xfrm>
            <a:off x="9779121" y="3502771"/>
            <a:ext cx="1969968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Класс: </a:t>
            </a:r>
            <a:r>
              <a:rPr lang="en-US" sz="1400" b="1" dirty="0">
                <a:solidFill>
                  <a:schemeClr val="tx1"/>
                </a:solidFill>
              </a:rPr>
              <a:t>B2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FE2945D2-5D79-D222-A2A1-D491C10A0952}"/>
              </a:ext>
            </a:extLst>
          </p:cNvPr>
          <p:cNvSpPr/>
          <p:nvPr/>
        </p:nvSpPr>
        <p:spPr>
          <a:xfrm>
            <a:off x="7762674" y="3808369"/>
            <a:ext cx="1969967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Подвижность: </a:t>
            </a:r>
            <a:r>
              <a:rPr lang="ru-RU" sz="1400" b="1" dirty="0">
                <a:solidFill>
                  <a:schemeClr val="tx1"/>
                </a:solidFill>
              </a:rPr>
              <a:t>П4</a:t>
            </a: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56505BA-A796-036B-2642-B8F914C408CE}"/>
              </a:ext>
            </a:extLst>
          </p:cNvPr>
          <p:cNvSpPr/>
          <p:nvPr/>
        </p:nvSpPr>
        <p:spPr>
          <a:xfrm>
            <a:off x="9779121" y="3808657"/>
            <a:ext cx="1969967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лагостойкость: </a:t>
            </a:r>
            <a:r>
              <a:rPr lang="en-US" sz="1400" b="1" dirty="0">
                <a:solidFill>
                  <a:schemeClr val="tx1"/>
                </a:solidFill>
              </a:rPr>
              <a:t>W8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0E9F21A-4879-234A-8EDD-63E4730AB660}"/>
              </a:ext>
            </a:extLst>
          </p:cNvPr>
          <p:cNvSpPr/>
          <p:nvPr/>
        </p:nvSpPr>
        <p:spPr>
          <a:xfrm>
            <a:off x="7762674" y="3502771"/>
            <a:ext cx="1969967" cy="251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>
                <a:solidFill>
                  <a:schemeClr val="accent1"/>
                </a:solidFill>
              </a:rPr>
              <a:t>Бетон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07F1F4D-21D4-7423-E76C-BCB9C61E53B6}"/>
              </a:ext>
            </a:extLst>
          </p:cNvPr>
          <p:cNvCxnSpPr>
            <a:cxnSpLocks/>
          </p:cNvCxnSpPr>
          <p:nvPr/>
        </p:nvCxnSpPr>
        <p:spPr>
          <a:xfrm>
            <a:off x="4319081" y="3376053"/>
            <a:ext cx="7430008" cy="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E69FF588-3F60-1442-83C5-1A8A0ACA4B04}"/>
              </a:ext>
            </a:extLst>
          </p:cNvPr>
          <p:cNvCxnSpPr>
            <a:cxnSpLocks/>
          </p:cNvCxnSpPr>
          <p:nvPr/>
        </p:nvCxnSpPr>
        <p:spPr>
          <a:xfrm>
            <a:off x="4319081" y="4797798"/>
            <a:ext cx="7430008" cy="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15269B1A-4CF3-E39E-9F86-4867DDEA7DF3}"/>
              </a:ext>
            </a:extLst>
          </p:cNvPr>
          <p:cNvSpPr/>
          <p:nvPr/>
        </p:nvSpPr>
        <p:spPr>
          <a:xfrm>
            <a:off x="7762675" y="2997819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Категория: </a:t>
            </a:r>
            <a:r>
              <a:rPr lang="ru-RU" sz="1400" b="1" dirty="0">
                <a:solidFill>
                  <a:schemeClr val="tx1"/>
                </a:solidFill>
              </a:rPr>
              <a:t>Арматура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2B4C282B-42B2-474E-D68D-2CA58ABBA9B7}"/>
              </a:ext>
            </a:extLst>
          </p:cNvPr>
          <p:cNvSpPr/>
          <p:nvPr/>
        </p:nvSpPr>
        <p:spPr>
          <a:xfrm>
            <a:off x="7762675" y="2692221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Марка стали: </a:t>
            </a:r>
            <a:r>
              <a:rPr lang="en-US" sz="1400" b="1" dirty="0">
                <a:solidFill>
                  <a:schemeClr val="tx1"/>
                </a:solidFill>
              </a:rPr>
              <a:t>A500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F25F5D93-900F-1F7B-CAF5-2B7911420AA0}"/>
              </a:ext>
            </a:extLst>
          </p:cNvPr>
          <p:cNvSpPr/>
          <p:nvPr/>
        </p:nvSpPr>
        <p:spPr>
          <a:xfrm>
            <a:off x="7762674" y="2386624"/>
            <a:ext cx="3986415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Диаметр: </a:t>
            </a:r>
            <a:r>
              <a:rPr lang="en-US" sz="1400" b="1" dirty="0">
                <a:solidFill>
                  <a:schemeClr val="tx1"/>
                </a:solidFill>
              </a:rPr>
              <a:t>D16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D394549-A198-C5B5-B0D2-C925C90FFA1E}"/>
              </a:ext>
            </a:extLst>
          </p:cNvPr>
          <p:cNvSpPr/>
          <p:nvPr/>
        </p:nvSpPr>
        <p:spPr>
          <a:xfrm>
            <a:off x="7762674" y="2081026"/>
            <a:ext cx="1969967" cy="251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err="1">
                <a:solidFill>
                  <a:schemeClr val="accent1"/>
                </a:solidFill>
              </a:rPr>
              <a:t>Арм</a:t>
            </a:r>
            <a:r>
              <a:rPr lang="ru-RU" sz="1400" b="1" dirty="0">
                <a:solidFill>
                  <a:schemeClr val="accent1"/>
                </a:solidFill>
              </a:rPr>
              <a:t>. Пруток </a:t>
            </a:r>
          </a:p>
        </p:txBody>
      </p: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B32F8951-A412-1E0C-1CE0-550144F8BE3B}"/>
              </a:ext>
            </a:extLst>
          </p:cNvPr>
          <p:cNvSpPr/>
          <p:nvPr/>
        </p:nvSpPr>
        <p:spPr>
          <a:xfrm>
            <a:off x="7762675" y="5841308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Категория: </a:t>
            </a:r>
            <a:r>
              <a:rPr lang="ru-RU" sz="1400" b="1" dirty="0">
                <a:solidFill>
                  <a:schemeClr val="tx1"/>
                </a:solidFill>
              </a:rPr>
              <a:t>Воздуховод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34327E7D-1DA8-8286-D4CC-A25CCF6461E8}"/>
              </a:ext>
            </a:extLst>
          </p:cNvPr>
          <p:cNvSpPr/>
          <p:nvPr/>
        </p:nvSpPr>
        <p:spPr>
          <a:xfrm>
            <a:off x="7762675" y="5535710"/>
            <a:ext cx="3986414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Шина: </a:t>
            </a:r>
            <a:r>
              <a:rPr lang="en-US" sz="1400" b="1" dirty="0">
                <a:solidFill>
                  <a:schemeClr val="tx1"/>
                </a:solidFill>
              </a:rPr>
              <a:t>R20x950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5C30317E-ECE1-F14A-34E6-3ED5D9DC6DE7}"/>
              </a:ext>
            </a:extLst>
          </p:cNvPr>
          <p:cNvSpPr/>
          <p:nvPr/>
        </p:nvSpPr>
        <p:spPr>
          <a:xfrm>
            <a:off x="7762674" y="5230113"/>
            <a:ext cx="3986415" cy="25151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Габариты: </a:t>
            </a:r>
            <a:r>
              <a:rPr lang="ru-RU" sz="1400" b="1" dirty="0">
                <a:solidFill>
                  <a:schemeClr val="tx1"/>
                </a:solidFill>
              </a:rPr>
              <a:t>300*300*1500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8154D0B1-6652-D5AC-4A82-2A170E6851FD}"/>
              </a:ext>
            </a:extLst>
          </p:cNvPr>
          <p:cNvSpPr/>
          <p:nvPr/>
        </p:nvSpPr>
        <p:spPr>
          <a:xfrm>
            <a:off x="7762674" y="4924515"/>
            <a:ext cx="3986415" cy="251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>
                <a:solidFill>
                  <a:schemeClr val="accent1"/>
                </a:solidFill>
              </a:rPr>
              <a:t>Воздуховод (</a:t>
            </a:r>
            <a:r>
              <a:rPr lang="ru-RU" sz="1400" b="1" dirty="0" err="1">
                <a:solidFill>
                  <a:schemeClr val="accent1"/>
                </a:solidFill>
              </a:rPr>
              <a:t>Пр</a:t>
            </a:r>
            <a:r>
              <a:rPr lang="ru-RU" sz="1400" b="1" dirty="0">
                <a:solidFill>
                  <a:schemeClr val="accent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114283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Может быть классификация?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CD46AF8-A31D-68C9-040C-6999353963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8681" y="1623566"/>
            <a:ext cx="5024120" cy="33460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4C46719-FF7D-596C-CFAB-4A280585437D}"/>
              </a:ext>
            </a:extLst>
          </p:cNvPr>
          <p:cNvSpPr txBox="1"/>
          <p:nvPr/>
        </p:nvSpPr>
        <p:spPr>
          <a:xfrm>
            <a:off x="463364" y="1819270"/>
            <a:ext cx="377952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i="0" dirty="0">
                <a:solidFill>
                  <a:srgbClr val="0D0D0D"/>
                </a:solidFill>
                <a:effectLst/>
                <a:latin typeface="Söhne"/>
              </a:rPr>
              <a:t>Большое количество классов</a:t>
            </a:r>
          </a:p>
          <a:p>
            <a:endParaRPr lang="ru-RU" i="0" dirty="0">
              <a:solidFill>
                <a:srgbClr val="0D0D0D"/>
              </a:solidFill>
              <a:effectLst/>
              <a:latin typeface="Söhne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i="0" dirty="0">
                <a:solidFill>
                  <a:srgbClr val="0D0D0D"/>
                </a:solidFill>
                <a:effectLst/>
                <a:latin typeface="Söhne"/>
              </a:rPr>
              <a:t>Классы с небольшим количеством примеров</a:t>
            </a:r>
          </a:p>
          <a:p>
            <a:endParaRPr lang="ru-RU" dirty="0">
              <a:solidFill>
                <a:srgbClr val="0D0D0D"/>
              </a:solidFill>
              <a:latin typeface="Söhne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i="0" dirty="0">
                <a:solidFill>
                  <a:srgbClr val="0D0D0D"/>
                </a:solidFill>
                <a:effectLst/>
                <a:latin typeface="Söhne"/>
              </a:rPr>
              <a:t>Непостоянные классы или динамические наборы класс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6210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 dirty="0"/>
              <a:t>Embeddings everywhere</a:t>
            </a: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CCCE23F-6BA5-E89B-839D-B3D9C5D488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1778" y="1221638"/>
            <a:ext cx="4844621" cy="3030156"/>
          </a:xfrm>
          <a:prstGeom prst="rect">
            <a:avLst/>
          </a:prstGeom>
        </p:spPr>
      </p:pic>
      <p:pic>
        <p:nvPicPr>
          <p:cNvPr id="1028" name="Picture 4" descr="X, X Everywhere Blank Meme Template - Imgflip">
            <a:extLst>
              <a:ext uri="{FF2B5EF4-FFF2-40B4-BE49-F238E27FC236}">
                <a16:creationId xmlns:a16="http://schemas.microsoft.com/office/drawing/2014/main" id="{EDC40336-E0F8-92B0-A526-CF34D76BA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64" y="3022600"/>
            <a:ext cx="4946354" cy="336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934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Хронология</a:t>
            </a:r>
            <a:br>
              <a:rPr lang="ru-RU" dirty="0"/>
            </a:b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7FD95-884A-D30B-A61F-5665EE160448}"/>
              </a:ext>
            </a:extLst>
          </p:cNvPr>
          <p:cNvSpPr txBox="1"/>
          <p:nvPr/>
        </p:nvSpPr>
        <p:spPr>
          <a:xfrm>
            <a:off x="463364" y="1270557"/>
            <a:ext cx="1002048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" sz="1400" b="1" i="0" dirty="0">
                <a:solidFill>
                  <a:srgbClr val="0D0D0D"/>
                </a:solidFill>
                <a:effectLst/>
                <a:latin typeface="Söhne"/>
              </a:rPr>
              <a:t>Word2Vec (2013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Введение двух архитектур для обучения векторных представлений слов: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Continuous Bag of Words (CBOW)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и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Skip-gram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CBOW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предсказывает текущее слово на основе контекста, а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Skip-gram —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контекст на основе текущего слова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ru-RU" sz="14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en" sz="1400" b="1" i="0" dirty="0">
                <a:solidFill>
                  <a:srgbClr val="0D0D0D"/>
                </a:solidFill>
                <a:effectLst/>
                <a:latin typeface="Söhne"/>
              </a:rPr>
              <a:t>GloVe (Global Vectors for Word Representation, 2014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Обучение на основе глобальной статистики совместной встречаемости слов в корпусе, а не на отдельных локальных примерах.</a:t>
            </a:r>
          </a:p>
          <a:p>
            <a:pPr algn="l"/>
            <a:endParaRPr lang="ru-RU" sz="14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en" sz="1400" b="1" i="0" dirty="0">
                <a:solidFill>
                  <a:srgbClr val="0D0D0D"/>
                </a:solidFill>
                <a:effectLst/>
                <a:latin typeface="Söhne"/>
              </a:rPr>
              <a:t>FastText (2016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Расширение идеи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Word2Vec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за счет обучения векторных представлений не только для слов, но и для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n-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грамм символов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3F51A8-4876-C17F-8B4F-D1E105A8CCC5}"/>
              </a:ext>
            </a:extLst>
          </p:cNvPr>
          <p:cNvSpPr txBox="1"/>
          <p:nvPr/>
        </p:nvSpPr>
        <p:spPr>
          <a:xfrm>
            <a:off x="463364" y="4416014"/>
            <a:ext cx="971695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" sz="1400" b="1" i="0" dirty="0">
                <a:solidFill>
                  <a:srgbClr val="0D0D0D"/>
                </a:solidFill>
                <a:effectLst/>
                <a:latin typeface="Söhne"/>
              </a:rPr>
              <a:t>ELMo (Embeddings from Language Models, 2018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Использование двунаправленных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LSTM (Long Short-Term Memory)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сетей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Каждое употребление слова получает уникальное представление в зависимости от контекста его использования.</a:t>
            </a:r>
          </a:p>
          <a:p>
            <a:pPr algn="l"/>
            <a:endParaRPr lang="ru-RU" sz="14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en" sz="1400" b="1" i="0" dirty="0">
                <a:solidFill>
                  <a:srgbClr val="0D0D0D"/>
                </a:solidFill>
                <a:effectLst/>
                <a:latin typeface="Söhne"/>
              </a:rPr>
              <a:t>BERT (Bidirectional Encoder Representations from Transformers, 2018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Основан на архитектуре </a:t>
            </a:r>
            <a:r>
              <a:rPr lang="en" sz="1400" b="0" i="0" dirty="0">
                <a:solidFill>
                  <a:srgbClr val="0D0D0D"/>
                </a:solidFill>
                <a:effectLst/>
                <a:latin typeface="Söhne"/>
              </a:rPr>
              <a:t>Transformer, </a:t>
            </a: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использующей механизмы внимания для анализа взаимосвязей между словами в тексте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400" b="0" i="0" dirty="0">
                <a:solidFill>
                  <a:srgbClr val="0D0D0D"/>
                </a:solidFill>
                <a:effectLst/>
                <a:latin typeface="Söhne"/>
              </a:rPr>
              <a:t>Обучается на задачах предсказания пропущенных слов и определения, является ли одно предложение логическим продолжением другого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636E23-A800-805B-F6F6-455F981B7288}"/>
              </a:ext>
            </a:extLst>
          </p:cNvPr>
          <p:cNvSpPr txBox="1"/>
          <p:nvPr/>
        </p:nvSpPr>
        <p:spPr>
          <a:xfrm>
            <a:off x="463364" y="3782004"/>
            <a:ext cx="2689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Контекстуальные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8D3A34-E37D-87EE-7C82-F5E2F20A4FA6}"/>
              </a:ext>
            </a:extLst>
          </p:cNvPr>
          <p:cNvSpPr txBox="1"/>
          <p:nvPr/>
        </p:nvSpPr>
        <p:spPr>
          <a:xfrm>
            <a:off x="463364" y="868765"/>
            <a:ext cx="2689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Статические</a:t>
            </a:r>
          </a:p>
        </p:txBody>
      </p:sp>
    </p:spTree>
    <p:extLst>
      <p:ext uri="{BB962C8B-B14F-4D97-AF65-F5344CB8AC3E}">
        <p14:creationId xmlns:p14="http://schemas.microsoft.com/office/powerpoint/2010/main" val="914476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Метчинг на эмбеддингах</a:t>
            </a:r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1C6C120-3C73-5B2A-5581-B9596C07D7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0986" y="1623456"/>
            <a:ext cx="4076700" cy="38227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AF00EF-9232-30F6-314C-161D039A692D}"/>
              </a:ext>
            </a:extLst>
          </p:cNvPr>
          <p:cNvSpPr txBox="1"/>
          <p:nvPr/>
        </p:nvSpPr>
        <p:spPr>
          <a:xfrm>
            <a:off x="296380" y="1623456"/>
            <a:ext cx="2689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err="1"/>
              <a:t>Арм</a:t>
            </a:r>
            <a:r>
              <a:rPr lang="ru-RU" dirty="0"/>
              <a:t>. Пруток ф16 АS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378D4E-0DA9-089B-71DC-92A20F2CFC09}"/>
              </a:ext>
            </a:extLst>
          </p:cNvPr>
          <p:cNvSpPr txBox="1"/>
          <p:nvPr/>
        </p:nvSpPr>
        <p:spPr>
          <a:xfrm>
            <a:off x="3811885" y="1623456"/>
            <a:ext cx="2689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0.31, 0.52, -0.01, …]</a:t>
            </a:r>
            <a:endParaRPr lang="ru-RU" dirty="0"/>
          </a:p>
        </p:txBody>
      </p:sp>
      <p:pic>
        <p:nvPicPr>
          <p:cNvPr id="39950" name="Picture 14" descr="Арматура пруток 16 x 11700 / А500С / ГОСТ 34028-2016 / ТЭМПО">
            <a:extLst>
              <a:ext uri="{FF2B5EF4-FFF2-40B4-BE49-F238E27FC236}">
                <a16:creationId xmlns:a16="http://schemas.microsoft.com/office/drawing/2014/main" id="{2037E10C-110B-1A3D-EF0C-8C3A97E688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75" y="2627271"/>
            <a:ext cx="2418834" cy="2418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2" name="Picture 16" descr="Фильм &quot;Матрица&quot;- Образы и концепция | God is Real | Дзен">
            <a:extLst>
              <a:ext uri="{FF2B5EF4-FFF2-40B4-BE49-F238E27FC236}">
                <a16:creationId xmlns:a16="http://schemas.microsoft.com/office/drawing/2014/main" id="{8F5660E3-0DE1-D2AA-BF3A-6A7FD41A3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0943" y="2610365"/>
            <a:ext cx="3951111" cy="222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030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ric Learning</a:t>
            </a: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122" name="Picture 2" descr="Working mechanism of metric learning. The metric learning method aims... |  Download Scientific Diagram">
            <a:extLst>
              <a:ext uri="{FF2B5EF4-FFF2-40B4-BE49-F238E27FC236}">
                <a16:creationId xmlns:a16="http://schemas.microsoft.com/office/drawing/2014/main" id="{74425516-95BF-7819-FCD5-977C846F9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47772"/>
            <a:ext cx="5484675" cy="234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37A783-1A1A-70F0-AFC6-941982FD3F65}"/>
              </a:ext>
            </a:extLst>
          </p:cNvPr>
          <p:cNvSpPr txBox="1"/>
          <p:nvPr/>
        </p:nvSpPr>
        <p:spPr>
          <a:xfrm>
            <a:off x="182567" y="1067913"/>
            <a:ext cx="476535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b="0" i="0" dirty="0">
                <a:solidFill>
                  <a:srgbClr val="0D0D0D"/>
                </a:solidFill>
                <a:effectLst/>
                <a:latin typeface="Söhne"/>
              </a:rPr>
              <a:t>Metric learning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 — это подход в машинном обучении, целью которого является обучение модели изменять пространство признаков так, чтобы в этом новом пространстве схожие объекты оказывались ближе друг к другу, а объекты, относящиеся к разным категориям, — на значительном расстоянии друг от друга.</a:t>
            </a:r>
          </a:p>
          <a:p>
            <a:endParaRPr lang="ru-RU" dirty="0">
              <a:solidFill>
                <a:srgbClr val="0D0D0D"/>
              </a:solidFill>
              <a:latin typeface="Söhne"/>
            </a:endParaRPr>
          </a:p>
          <a:p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Это достигается за счет определения функции преобразования, которая </a:t>
            </a:r>
            <a:r>
              <a:rPr lang="ru-RU" b="0" i="0" dirty="0" err="1">
                <a:solidFill>
                  <a:srgbClr val="0D0D0D"/>
                </a:solidFill>
                <a:effectLst/>
                <a:latin typeface="Söhne"/>
              </a:rPr>
              <a:t>маппирует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 исходные данные в новое пространство признаков, где расстояния между объектами лучше отражают их семантическую схожесть или различие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8040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  <a:t>Расстояни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Linux Libertine"/>
              </a:rPr>
              <a:t>Махаланобиса</a:t>
            </a:r>
            <a:b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</a:b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37A783-1A1A-70F0-AFC6-941982FD3F65}"/>
              </a:ext>
            </a:extLst>
          </p:cNvPr>
          <p:cNvSpPr txBox="1"/>
          <p:nvPr/>
        </p:nvSpPr>
        <p:spPr>
          <a:xfrm>
            <a:off x="182567" y="1067913"/>
            <a:ext cx="604551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Расстояние </a:t>
            </a:r>
            <a:r>
              <a:rPr lang="ru-RU" b="0" i="0" dirty="0" err="1">
                <a:solidFill>
                  <a:srgbClr val="0D0D0D"/>
                </a:solidFill>
                <a:effectLst/>
                <a:latin typeface="Söhne"/>
              </a:rPr>
              <a:t>Махаланобиса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 — это мера различия между двумя точками в многомерном пространстве, учитывающая корреляции между переменными.</a:t>
            </a:r>
          </a:p>
          <a:p>
            <a:endParaRPr lang="ru-RU" dirty="0">
              <a:solidFill>
                <a:srgbClr val="0D0D0D"/>
              </a:solidFill>
              <a:latin typeface="Söhne"/>
            </a:endParaRPr>
          </a:p>
          <a:p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В отличие от евклидова расстояния, которое измеряет прямое расстояние между точками, расстояние </a:t>
            </a:r>
            <a:r>
              <a:rPr lang="ru-RU" b="0" i="0" dirty="0" err="1">
                <a:solidFill>
                  <a:srgbClr val="0D0D0D"/>
                </a:solidFill>
                <a:effectLst/>
                <a:latin typeface="Söhne"/>
              </a:rPr>
              <a:t>Махаланобиса</a:t>
            </a:r>
            <a:r>
              <a:rPr lang="ru-RU" b="0" i="0" dirty="0">
                <a:solidFill>
                  <a:srgbClr val="0D0D0D"/>
                </a:solidFill>
                <a:effectLst/>
                <a:latin typeface="Söhne"/>
              </a:rPr>
              <a:t> учитывает вариации и корреляции между различными признаками, делая его более адекватным для ситуаций, где признаки не независимы и имеют разную вариативность.</a:t>
            </a:r>
            <a:endParaRPr lang="ru-RU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F8A4993A-8ACC-C7A2-E868-146A11FA6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445" y="630392"/>
            <a:ext cx="2794000" cy="420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2A21AC-0ED5-61A9-C105-747FEBF4D6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567" y="4130040"/>
            <a:ext cx="3660231" cy="7975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191520-5A43-EF28-205E-7BA960C7ABE6}"/>
              </a:ext>
            </a:extLst>
          </p:cNvPr>
          <p:cNvSpPr txBox="1"/>
          <p:nvPr/>
        </p:nvSpPr>
        <p:spPr>
          <a:xfrm>
            <a:off x="222664" y="4979712"/>
            <a:ext cx="61264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200" b="0" i="1" dirty="0">
                <a:solidFill>
                  <a:srgbClr val="0D0D0D"/>
                </a:solidFill>
                <a:effectLst/>
                <a:latin typeface="KaTeX_Math"/>
              </a:rPr>
              <a:t>C</a:t>
            </a:r>
            <a:r>
              <a:rPr lang="en" sz="1200" b="0" i="0" dirty="0">
                <a:solidFill>
                  <a:srgbClr val="0D0D0D"/>
                </a:solidFill>
                <a:effectLst/>
                <a:latin typeface="Söhne"/>
              </a:rPr>
              <a:t> — </a:t>
            </a:r>
            <a:r>
              <a:rPr lang="ru-RU" sz="1200" b="0" i="0" dirty="0">
                <a:solidFill>
                  <a:srgbClr val="0D0D0D"/>
                </a:solidFill>
                <a:effectLst/>
                <a:latin typeface="Söhne"/>
              </a:rPr>
              <a:t>это матрица ковариации, показывающая, насколько сильно каждый признак варьируется относительно других признаков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77222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0" imgH="490" progId="TCLayout.ActiveDocument.1">
                  <p:embed/>
                </p:oleObj>
              </mc:Choice>
              <mc:Fallback>
                <p:oleObj name="Слайд think-cell" r:id="rId3" imgW="490" imgH="49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Slide Number Placeholder 12">
            <a:extLst>
              <a:ext uri="{FF2B5EF4-FFF2-40B4-BE49-F238E27FC236}">
                <a16:creationId xmlns:a16="http://schemas.microsoft.com/office/drawing/2014/main" id="{D1B6F7DF-119F-CFE2-E07F-5AFA1B259B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6BBE04-D580-234D-B6CE-10EEBD6BC98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  <a:t>Расстояни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Linux Libertine"/>
              </a:rPr>
              <a:t>Махаланобиса</a:t>
            </a:r>
            <a:br>
              <a:rPr lang="ru-RU" b="0" i="0" dirty="0">
                <a:solidFill>
                  <a:srgbClr val="000000"/>
                </a:solidFill>
                <a:effectLst/>
                <a:latin typeface="Linux Libertine"/>
              </a:rPr>
            </a:br>
            <a:endParaRPr lang="ru-RU" dirty="0"/>
          </a:p>
        </p:txBody>
      </p:sp>
      <p:sp>
        <p:nvSpPr>
          <p:cNvPr id="7" name="Прямоугольник 8">
            <a:extLst>
              <a:ext uri="{FF2B5EF4-FFF2-40B4-BE49-F238E27FC236}">
                <a16:creationId xmlns:a16="http://schemas.microsoft.com/office/drawing/2014/main" id="{AED950AB-A21C-2636-7DB4-C7ADC5589815}"/>
              </a:ext>
            </a:extLst>
          </p:cNvPr>
          <p:cNvSpPr/>
          <p:nvPr/>
        </p:nvSpPr>
        <p:spPr>
          <a:xfrm>
            <a:off x="68754" y="400527"/>
            <a:ext cx="227626" cy="246221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0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oFo Sans"/>
              </a:rPr>
              <a:t>1</a:t>
            </a:r>
          </a:p>
        </p:txBody>
      </p:sp>
      <p:grpSp>
        <p:nvGrpSpPr>
          <p:cNvPr id="21" name="Рисунок 15">
            <a:extLst>
              <a:ext uri="{FF2B5EF4-FFF2-40B4-BE49-F238E27FC236}">
                <a16:creationId xmlns:a16="http://schemas.microsoft.com/office/drawing/2014/main" id="{B14971D3-3027-4C43-ED6E-100BEA262584}"/>
              </a:ext>
            </a:extLst>
          </p:cNvPr>
          <p:cNvGrpSpPr/>
          <p:nvPr/>
        </p:nvGrpSpPr>
        <p:grpSpPr>
          <a:xfrm>
            <a:off x="8105400" y="5119633"/>
            <a:ext cx="546773" cy="565199"/>
            <a:chOff x="6252358" y="3967339"/>
            <a:chExt cx="546773" cy="565199"/>
          </a:xfrm>
          <a:solidFill>
            <a:schemeClr val="bg1"/>
          </a:solidFill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2EE73E69-9E54-C4AB-ACD5-939F3B6789F6}"/>
                </a:ext>
              </a:extLst>
            </p:cNvPr>
            <p:cNvSpPr/>
            <p:nvPr/>
          </p:nvSpPr>
          <p:spPr>
            <a:xfrm>
              <a:off x="6526454" y="4096320"/>
              <a:ext cx="174399" cy="174399"/>
            </a:xfrm>
            <a:custGeom>
              <a:avLst/>
              <a:gdLst>
                <a:gd name="connsiteX0" fmla="*/ 87199 w 174399"/>
                <a:gd name="connsiteY0" fmla="*/ 0 h 174399"/>
                <a:gd name="connsiteX1" fmla="*/ 0 w 174399"/>
                <a:gd name="connsiteY1" fmla="*/ 87200 h 174399"/>
                <a:gd name="connsiteX2" fmla="*/ 87200 w 174399"/>
                <a:gd name="connsiteY2" fmla="*/ 174400 h 174399"/>
                <a:gd name="connsiteX3" fmla="*/ 87201 w 174399"/>
                <a:gd name="connsiteY3" fmla="*/ 174400 h 174399"/>
                <a:gd name="connsiteX4" fmla="*/ 174400 w 174399"/>
                <a:gd name="connsiteY4" fmla="*/ 87200 h 174399"/>
                <a:gd name="connsiteX5" fmla="*/ 87199 w 174399"/>
                <a:gd name="connsiteY5" fmla="*/ 0 h 174399"/>
                <a:gd name="connsiteX6" fmla="*/ 87200 w 174399"/>
                <a:gd name="connsiteY6" fmla="*/ 157841 h 174399"/>
                <a:gd name="connsiteX7" fmla="*/ 16559 w 174399"/>
                <a:gd name="connsiteY7" fmla="*/ 87200 h 174399"/>
                <a:gd name="connsiteX8" fmla="*/ 87200 w 174399"/>
                <a:gd name="connsiteY8" fmla="*/ 16559 h 174399"/>
                <a:gd name="connsiteX9" fmla="*/ 157841 w 174399"/>
                <a:gd name="connsiteY9" fmla="*/ 87200 h 174399"/>
                <a:gd name="connsiteX10" fmla="*/ 87200 w 174399"/>
                <a:gd name="connsiteY10" fmla="*/ 157841 h 17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9" h="174399">
                  <a:moveTo>
                    <a:pt x="87199" y="0"/>
                  </a:moveTo>
                  <a:cubicBezTo>
                    <a:pt x="38939" y="0"/>
                    <a:pt x="0" y="38930"/>
                    <a:pt x="0" y="87200"/>
                  </a:cubicBezTo>
                  <a:cubicBezTo>
                    <a:pt x="0" y="135461"/>
                    <a:pt x="38931" y="174398"/>
                    <a:pt x="87200" y="174400"/>
                  </a:cubicBezTo>
                  <a:lnTo>
                    <a:pt x="87201" y="174400"/>
                  </a:lnTo>
                  <a:cubicBezTo>
                    <a:pt x="135460" y="174400"/>
                    <a:pt x="174400" y="135470"/>
                    <a:pt x="174400" y="87200"/>
                  </a:cubicBezTo>
                  <a:cubicBezTo>
                    <a:pt x="174398" y="38939"/>
                    <a:pt x="135469" y="0"/>
                    <a:pt x="87199" y="0"/>
                  </a:cubicBezTo>
                  <a:close/>
                  <a:moveTo>
                    <a:pt x="87200" y="157841"/>
                  </a:moveTo>
                  <a:cubicBezTo>
                    <a:pt x="48093" y="157841"/>
                    <a:pt x="16559" y="126316"/>
                    <a:pt x="16559" y="87200"/>
                  </a:cubicBezTo>
                  <a:cubicBezTo>
                    <a:pt x="16559" y="48094"/>
                    <a:pt x="48082" y="16559"/>
                    <a:pt x="87200" y="16559"/>
                  </a:cubicBezTo>
                  <a:cubicBezTo>
                    <a:pt x="126309" y="16559"/>
                    <a:pt x="157839" y="48083"/>
                    <a:pt x="157841" y="87200"/>
                  </a:cubicBezTo>
                  <a:cubicBezTo>
                    <a:pt x="157842" y="126308"/>
                    <a:pt x="126318" y="157841"/>
                    <a:pt x="87200" y="15784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D56B1BE-A59E-594A-CEF2-F839D5F91731}"/>
                </a:ext>
              </a:extLst>
            </p:cNvPr>
            <p:cNvSpPr/>
            <p:nvPr/>
          </p:nvSpPr>
          <p:spPr>
            <a:xfrm>
              <a:off x="6252358" y="3967339"/>
              <a:ext cx="546773" cy="565199"/>
            </a:xfrm>
            <a:custGeom>
              <a:avLst/>
              <a:gdLst>
                <a:gd name="connsiteX0" fmla="*/ 536866 w 546773"/>
                <a:gd name="connsiteY0" fmla="*/ 343951 h 565199"/>
                <a:gd name="connsiteX1" fmla="*/ 519694 w 546773"/>
                <a:gd name="connsiteY1" fmla="*/ 326778 h 565199"/>
                <a:gd name="connsiteX2" fmla="*/ 507985 w 546773"/>
                <a:gd name="connsiteY2" fmla="*/ 326778 h 565199"/>
                <a:gd name="connsiteX3" fmla="*/ 507986 w 546773"/>
                <a:gd name="connsiteY3" fmla="*/ 338486 h 565199"/>
                <a:gd name="connsiteX4" fmla="*/ 525158 w 546773"/>
                <a:gd name="connsiteY4" fmla="*/ 355659 h 565199"/>
                <a:gd name="connsiteX5" fmla="*/ 525158 w 546773"/>
                <a:gd name="connsiteY5" fmla="*/ 380042 h 565199"/>
                <a:gd name="connsiteX6" fmla="*/ 500775 w 546773"/>
                <a:gd name="connsiteY6" fmla="*/ 380042 h 565199"/>
                <a:gd name="connsiteX7" fmla="*/ 434143 w 546773"/>
                <a:gd name="connsiteY7" fmla="*/ 313409 h 565199"/>
                <a:gd name="connsiteX8" fmla="*/ 458537 w 546773"/>
                <a:gd name="connsiteY8" fmla="*/ 289037 h 565199"/>
                <a:gd name="connsiteX9" fmla="*/ 480665 w 546773"/>
                <a:gd name="connsiteY9" fmla="*/ 311165 h 565199"/>
                <a:gd name="connsiteX10" fmla="*/ 492374 w 546773"/>
                <a:gd name="connsiteY10" fmla="*/ 311165 h 565199"/>
                <a:gd name="connsiteX11" fmla="*/ 492374 w 546773"/>
                <a:gd name="connsiteY11" fmla="*/ 299457 h 565199"/>
                <a:gd name="connsiteX12" fmla="*/ 467747 w 546773"/>
                <a:gd name="connsiteY12" fmla="*/ 274830 h 565199"/>
                <a:gd name="connsiteX13" fmla="*/ 482788 w 546773"/>
                <a:gd name="connsiteY13" fmla="*/ 216181 h 565199"/>
                <a:gd name="connsiteX14" fmla="*/ 462166 w 546773"/>
                <a:gd name="connsiteY14" fmla="*/ 148410 h 565199"/>
                <a:gd name="connsiteX15" fmla="*/ 462166 w 546773"/>
                <a:gd name="connsiteY15" fmla="*/ 74407 h 565199"/>
                <a:gd name="connsiteX16" fmla="*/ 436224 w 546773"/>
                <a:gd name="connsiteY16" fmla="*/ 48465 h 565199"/>
                <a:gd name="connsiteX17" fmla="*/ 415316 w 546773"/>
                <a:gd name="connsiteY17" fmla="*/ 48465 h 565199"/>
                <a:gd name="connsiteX18" fmla="*/ 415316 w 546773"/>
                <a:gd name="connsiteY18" fmla="*/ 25942 h 565199"/>
                <a:gd name="connsiteX19" fmla="*/ 389374 w 546773"/>
                <a:gd name="connsiteY19" fmla="*/ 0 h 565199"/>
                <a:gd name="connsiteX20" fmla="*/ 158626 w 546773"/>
                <a:gd name="connsiteY20" fmla="*/ 0 h 565199"/>
                <a:gd name="connsiteX21" fmla="*/ 150347 w 546773"/>
                <a:gd name="connsiteY21" fmla="*/ 8279 h 565199"/>
                <a:gd name="connsiteX22" fmla="*/ 158626 w 546773"/>
                <a:gd name="connsiteY22" fmla="*/ 16559 h 565199"/>
                <a:gd name="connsiteX23" fmla="*/ 389373 w 546773"/>
                <a:gd name="connsiteY23" fmla="*/ 16559 h 565199"/>
                <a:gd name="connsiteX24" fmla="*/ 398756 w 546773"/>
                <a:gd name="connsiteY24" fmla="*/ 25942 h 565199"/>
                <a:gd name="connsiteX25" fmla="*/ 398756 w 546773"/>
                <a:gd name="connsiteY25" fmla="*/ 48465 h 565199"/>
                <a:gd name="connsiteX26" fmla="*/ 72792 w 546773"/>
                <a:gd name="connsiteY26" fmla="*/ 48465 h 565199"/>
                <a:gd name="connsiteX27" fmla="*/ 46850 w 546773"/>
                <a:gd name="connsiteY27" fmla="*/ 74407 h 565199"/>
                <a:gd name="connsiteX28" fmla="*/ 46850 w 546773"/>
                <a:gd name="connsiteY28" fmla="*/ 500176 h 565199"/>
                <a:gd name="connsiteX29" fmla="*/ 25942 w 546773"/>
                <a:gd name="connsiteY29" fmla="*/ 500176 h 565199"/>
                <a:gd name="connsiteX30" fmla="*/ 16559 w 546773"/>
                <a:gd name="connsiteY30" fmla="*/ 490792 h 565199"/>
                <a:gd name="connsiteX31" fmla="*/ 16559 w 546773"/>
                <a:gd name="connsiteY31" fmla="*/ 25942 h 565199"/>
                <a:gd name="connsiteX32" fmla="*/ 25942 w 546773"/>
                <a:gd name="connsiteY32" fmla="*/ 16559 h 565199"/>
                <a:gd name="connsiteX33" fmla="*/ 119989 w 546773"/>
                <a:gd name="connsiteY33" fmla="*/ 16559 h 565199"/>
                <a:gd name="connsiteX34" fmla="*/ 128268 w 546773"/>
                <a:gd name="connsiteY34" fmla="*/ 8279 h 565199"/>
                <a:gd name="connsiteX35" fmla="*/ 119989 w 546773"/>
                <a:gd name="connsiteY35" fmla="*/ 0 h 565199"/>
                <a:gd name="connsiteX36" fmla="*/ 25942 w 546773"/>
                <a:gd name="connsiteY36" fmla="*/ 0 h 565199"/>
                <a:gd name="connsiteX37" fmla="*/ 0 w 546773"/>
                <a:gd name="connsiteY37" fmla="*/ 25942 h 565199"/>
                <a:gd name="connsiteX38" fmla="*/ 0 w 546773"/>
                <a:gd name="connsiteY38" fmla="*/ 490793 h 565199"/>
                <a:gd name="connsiteX39" fmla="*/ 25942 w 546773"/>
                <a:gd name="connsiteY39" fmla="*/ 516735 h 565199"/>
                <a:gd name="connsiteX40" fmla="*/ 46850 w 546773"/>
                <a:gd name="connsiteY40" fmla="*/ 516735 h 565199"/>
                <a:gd name="connsiteX41" fmla="*/ 46850 w 546773"/>
                <a:gd name="connsiteY41" fmla="*/ 539258 h 565199"/>
                <a:gd name="connsiteX42" fmla="*/ 72792 w 546773"/>
                <a:gd name="connsiteY42" fmla="*/ 565200 h 565199"/>
                <a:gd name="connsiteX43" fmla="*/ 436223 w 546773"/>
                <a:gd name="connsiteY43" fmla="*/ 565200 h 565199"/>
                <a:gd name="connsiteX44" fmla="*/ 462165 w 546773"/>
                <a:gd name="connsiteY44" fmla="*/ 539258 h 565199"/>
                <a:gd name="connsiteX45" fmla="*/ 462165 w 546773"/>
                <a:gd name="connsiteY45" fmla="*/ 364851 h 565199"/>
                <a:gd name="connsiteX46" fmla="*/ 489066 w 546773"/>
                <a:gd name="connsiteY46" fmla="*/ 391752 h 565199"/>
                <a:gd name="connsiteX47" fmla="*/ 536867 w 546773"/>
                <a:gd name="connsiteY47" fmla="*/ 391752 h 565199"/>
                <a:gd name="connsiteX48" fmla="*/ 536866 w 546773"/>
                <a:gd name="connsiteY48" fmla="*/ 343951 h 565199"/>
                <a:gd name="connsiteX49" fmla="*/ 290783 w 546773"/>
                <a:gd name="connsiteY49" fmla="*/ 293881 h 565199"/>
                <a:gd name="connsiteX50" fmla="*/ 256415 w 546773"/>
                <a:gd name="connsiteY50" fmla="*/ 216181 h 565199"/>
                <a:gd name="connsiteX51" fmla="*/ 361296 w 546773"/>
                <a:gd name="connsiteY51" fmla="*/ 111299 h 565199"/>
                <a:gd name="connsiteX52" fmla="*/ 466228 w 546773"/>
                <a:gd name="connsiteY52" fmla="*/ 216181 h 565199"/>
                <a:gd name="connsiteX53" fmla="*/ 290783 w 546773"/>
                <a:gd name="connsiteY53" fmla="*/ 293881 h 565199"/>
                <a:gd name="connsiteX54" fmla="*/ 445606 w 546773"/>
                <a:gd name="connsiteY54" fmla="*/ 539258 h 565199"/>
                <a:gd name="connsiteX55" fmla="*/ 436223 w 546773"/>
                <a:gd name="connsiteY55" fmla="*/ 548641 h 565199"/>
                <a:gd name="connsiteX56" fmla="*/ 72792 w 546773"/>
                <a:gd name="connsiteY56" fmla="*/ 548641 h 565199"/>
                <a:gd name="connsiteX57" fmla="*/ 63408 w 546773"/>
                <a:gd name="connsiteY57" fmla="*/ 539258 h 565199"/>
                <a:gd name="connsiteX58" fmla="*/ 63408 w 546773"/>
                <a:gd name="connsiteY58" fmla="*/ 508456 h 565199"/>
                <a:gd name="connsiteX59" fmla="*/ 63408 w 546773"/>
                <a:gd name="connsiteY59" fmla="*/ 74407 h 565199"/>
                <a:gd name="connsiteX60" fmla="*/ 72792 w 546773"/>
                <a:gd name="connsiteY60" fmla="*/ 65023 h 565199"/>
                <a:gd name="connsiteX61" fmla="*/ 407036 w 546773"/>
                <a:gd name="connsiteY61" fmla="*/ 65023 h 565199"/>
                <a:gd name="connsiteX62" fmla="*/ 436223 w 546773"/>
                <a:gd name="connsiteY62" fmla="*/ 65023 h 565199"/>
                <a:gd name="connsiteX63" fmla="*/ 445606 w 546773"/>
                <a:gd name="connsiteY63" fmla="*/ 74407 h 565199"/>
                <a:gd name="connsiteX64" fmla="*/ 445606 w 546773"/>
                <a:gd name="connsiteY64" fmla="*/ 128707 h 565199"/>
                <a:gd name="connsiteX65" fmla="*/ 361296 w 546773"/>
                <a:gd name="connsiteY65" fmla="*/ 94692 h 565199"/>
                <a:gd name="connsiteX66" fmla="*/ 271088 w 546773"/>
                <a:gd name="connsiteY66" fmla="*/ 297561 h 565199"/>
                <a:gd name="connsiteX67" fmla="*/ 348220 w 546773"/>
                <a:gd name="connsiteY67" fmla="*/ 336954 h 565199"/>
                <a:gd name="connsiteX68" fmla="*/ 419917 w 546773"/>
                <a:gd name="connsiteY68" fmla="*/ 322601 h 565199"/>
                <a:gd name="connsiteX69" fmla="*/ 445607 w 546773"/>
                <a:gd name="connsiteY69" fmla="*/ 348291 h 565199"/>
                <a:gd name="connsiteX70" fmla="*/ 445607 w 546773"/>
                <a:gd name="connsiteY70" fmla="*/ 539258 h 56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46773" h="565199">
                  <a:moveTo>
                    <a:pt x="536866" y="343951"/>
                  </a:moveTo>
                  <a:lnTo>
                    <a:pt x="519694" y="326778"/>
                  </a:lnTo>
                  <a:cubicBezTo>
                    <a:pt x="516459" y="323544"/>
                    <a:pt x="511218" y="323545"/>
                    <a:pt x="507985" y="326778"/>
                  </a:cubicBezTo>
                  <a:cubicBezTo>
                    <a:pt x="504751" y="330012"/>
                    <a:pt x="504751" y="335254"/>
                    <a:pt x="507986" y="338486"/>
                  </a:cubicBezTo>
                  <a:lnTo>
                    <a:pt x="525158" y="355659"/>
                  </a:lnTo>
                  <a:cubicBezTo>
                    <a:pt x="531896" y="362400"/>
                    <a:pt x="531896" y="373307"/>
                    <a:pt x="525158" y="380042"/>
                  </a:cubicBezTo>
                  <a:cubicBezTo>
                    <a:pt x="518418" y="386780"/>
                    <a:pt x="507517" y="386782"/>
                    <a:pt x="500775" y="380042"/>
                  </a:cubicBezTo>
                  <a:cubicBezTo>
                    <a:pt x="486379" y="365646"/>
                    <a:pt x="447022" y="326289"/>
                    <a:pt x="434143" y="313409"/>
                  </a:cubicBezTo>
                  <a:cubicBezTo>
                    <a:pt x="443332" y="306515"/>
                    <a:pt x="451592" y="298267"/>
                    <a:pt x="458537" y="289037"/>
                  </a:cubicBezTo>
                  <a:lnTo>
                    <a:pt x="480665" y="311165"/>
                  </a:lnTo>
                  <a:cubicBezTo>
                    <a:pt x="483900" y="314398"/>
                    <a:pt x="489141" y="314398"/>
                    <a:pt x="492374" y="311165"/>
                  </a:cubicBezTo>
                  <a:cubicBezTo>
                    <a:pt x="495608" y="307931"/>
                    <a:pt x="495608" y="302689"/>
                    <a:pt x="492374" y="299457"/>
                  </a:cubicBezTo>
                  <a:lnTo>
                    <a:pt x="467747" y="274830"/>
                  </a:lnTo>
                  <a:cubicBezTo>
                    <a:pt x="477563" y="257074"/>
                    <a:pt x="482788" y="237031"/>
                    <a:pt x="482788" y="216181"/>
                  </a:cubicBezTo>
                  <a:cubicBezTo>
                    <a:pt x="482788" y="191676"/>
                    <a:pt x="475577" y="168281"/>
                    <a:pt x="462166" y="148410"/>
                  </a:cubicBezTo>
                  <a:lnTo>
                    <a:pt x="462166" y="74407"/>
                  </a:lnTo>
                  <a:cubicBezTo>
                    <a:pt x="462166" y="60102"/>
                    <a:pt x="450528" y="48465"/>
                    <a:pt x="436224" y="48465"/>
                  </a:cubicBezTo>
                  <a:lnTo>
                    <a:pt x="415316" y="48465"/>
                  </a:lnTo>
                  <a:lnTo>
                    <a:pt x="415316" y="25942"/>
                  </a:lnTo>
                  <a:cubicBezTo>
                    <a:pt x="415316" y="11637"/>
                    <a:pt x="403679" y="0"/>
                    <a:pt x="389374" y="0"/>
                  </a:cubicBezTo>
                  <a:lnTo>
                    <a:pt x="158626" y="0"/>
                  </a:lnTo>
                  <a:cubicBezTo>
                    <a:pt x="154053" y="0"/>
                    <a:pt x="150347" y="3707"/>
                    <a:pt x="150347" y="8279"/>
                  </a:cubicBezTo>
                  <a:cubicBezTo>
                    <a:pt x="150347" y="12852"/>
                    <a:pt x="154053" y="16559"/>
                    <a:pt x="158626" y="16559"/>
                  </a:cubicBezTo>
                  <a:lnTo>
                    <a:pt x="389373" y="16559"/>
                  </a:lnTo>
                  <a:cubicBezTo>
                    <a:pt x="394547" y="16559"/>
                    <a:pt x="398756" y="20768"/>
                    <a:pt x="398756" y="25942"/>
                  </a:cubicBezTo>
                  <a:lnTo>
                    <a:pt x="398756" y="48465"/>
                  </a:lnTo>
                  <a:lnTo>
                    <a:pt x="72792" y="48465"/>
                  </a:lnTo>
                  <a:cubicBezTo>
                    <a:pt x="58487" y="48465"/>
                    <a:pt x="46850" y="60102"/>
                    <a:pt x="46850" y="74407"/>
                  </a:cubicBezTo>
                  <a:lnTo>
                    <a:pt x="46850" y="500176"/>
                  </a:lnTo>
                  <a:lnTo>
                    <a:pt x="25942" y="500176"/>
                  </a:lnTo>
                  <a:cubicBezTo>
                    <a:pt x="20768" y="500176"/>
                    <a:pt x="16559" y="495966"/>
                    <a:pt x="16559" y="490792"/>
                  </a:cubicBezTo>
                  <a:lnTo>
                    <a:pt x="16559" y="25942"/>
                  </a:lnTo>
                  <a:cubicBezTo>
                    <a:pt x="16559" y="20768"/>
                    <a:pt x="20768" y="16559"/>
                    <a:pt x="25942" y="16559"/>
                  </a:cubicBezTo>
                  <a:lnTo>
                    <a:pt x="119989" y="16559"/>
                  </a:lnTo>
                  <a:cubicBezTo>
                    <a:pt x="124561" y="16559"/>
                    <a:pt x="128268" y="12852"/>
                    <a:pt x="128268" y="8279"/>
                  </a:cubicBezTo>
                  <a:cubicBezTo>
                    <a:pt x="128268" y="3707"/>
                    <a:pt x="124561" y="0"/>
                    <a:pt x="119989" y="0"/>
                  </a:cubicBezTo>
                  <a:lnTo>
                    <a:pt x="25942" y="0"/>
                  </a:lnTo>
                  <a:cubicBezTo>
                    <a:pt x="11637" y="0"/>
                    <a:pt x="0" y="11637"/>
                    <a:pt x="0" y="25942"/>
                  </a:cubicBezTo>
                  <a:lnTo>
                    <a:pt x="0" y="490793"/>
                  </a:lnTo>
                  <a:cubicBezTo>
                    <a:pt x="0" y="505098"/>
                    <a:pt x="11637" y="516735"/>
                    <a:pt x="25942" y="516735"/>
                  </a:cubicBezTo>
                  <a:lnTo>
                    <a:pt x="46850" y="516735"/>
                  </a:lnTo>
                  <a:lnTo>
                    <a:pt x="46850" y="539258"/>
                  </a:lnTo>
                  <a:cubicBezTo>
                    <a:pt x="46850" y="553563"/>
                    <a:pt x="58487" y="565200"/>
                    <a:pt x="72792" y="565200"/>
                  </a:cubicBezTo>
                  <a:lnTo>
                    <a:pt x="436223" y="565200"/>
                  </a:lnTo>
                  <a:cubicBezTo>
                    <a:pt x="450527" y="565200"/>
                    <a:pt x="462165" y="553563"/>
                    <a:pt x="462165" y="539258"/>
                  </a:cubicBezTo>
                  <a:lnTo>
                    <a:pt x="462165" y="364851"/>
                  </a:lnTo>
                  <a:lnTo>
                    <a:pt x="489066" y="391752"/>
                  </a:lnTo>
                  <a:cubicBezTo>
                    <a:pt x="502275" y="404960"/>
                    <a:pt x="523649" y="404964"/>
                    <a:pt x="536867" y="391752"/>
                  </a:cubicBezTo>
                  <a:cubicBezTo>
                    <a:pt x="550074" y="378543"/>
                    <a:pt x="550078" y="357164"/>
                    <a:pt x="536866" y="343951"/>
                  </a:cubicBezTo>
                  <a:close/>
                  <a:moveTo>
                    <a:pt x="290783" y="293881"/>
                  </a:moveTo>
                  <a:cubicBezTo>
                    <a:pt x="268200" y="273363"/>
                    <a:pt x="256415" y="245075"/>
                    <a:pt x="256415" y="216181"/>
                  </a:cubicBezTo>
                  <a:cubicBezTo>
                    <a:pt x="256415" y="158163"/>
                    <a:pt x="303283" y="111299"/>
                    <a:pt x="361296" y="111299"/>
                  </a:cubicBezTo>
                  <a:cubicBezTo>
                    <a:pt x="419246" y="111299"/>
                    <a:pt x="466228" y="158122"/>
                    <a:pt x="466228" y="216181"/>
                  </a:cubicBezTo>
                  <a:cubicBezTo>
                    <a:pt x="466228" y="305779"/>
                    <a:pt x="358518" y="355512"/>
                    <a:pt x="290783" y="293881"/>
                  </a:cubicBezTo>
                  <a:close/>
                  <a:moveTo>
                    <a:pt x="445606" y="539258"/>
                  </a:moveTo>
                  <a:cubicBezTo>
                    <a:pt x="445606" y="544432"/>
                    <a:pt x="441397" y="548641"/>
                    <a:pt x="436223" y="548641"/>
                  </a:cubicBezTo>
                  <a:lnTo>
                    <a:pt x="72792" y="548641"/>
                  </a:lnTo>
                  <a:cubicBezTo>
                    <a:pt x="67618" y="548641"/>
                    <a:pt x="63408" y="544432"/>
                    <a:pt x="63408" y="539258"/>
                  </a:cubicBezTo>
                  <a:lnTo>
                    <a:pt x="63408" y="508456"/>
                  </a:lnTo>
                  <a:lnTo>
                    <a:pt x="63408" y="74407"/>
                  </a:lnTo>
                  <a:cubicBezTo>
                    <a:pt x="63408" y="69233"/>
                    <a:pt x="67618" y="65023"/>
                    <a:pt x="72792" y="65023"/>
                  </a:cubicBezTo>
                  <a:lnTo>
                    <a:pt x="407036" y="65023"/>
                  </a:lnTo>
                  <a:lnTo>
                    <a:pt x="436223" y="65023"/>
                  </a:lnTo>
                  <a:cubicBezTo>
                    <a:pt x="441397" y="65023"/>
                    <a:pt x="445606" y="69233"/>
                    <a:pt x="445606" y="74407"/>
                  </a:cubicBezTo>
                  <a:lnTo>
                    <a:pt x="445606" y="128707"/>
                  </a:lnTo>
                  <a:cubicBezTo>
                    <a:pt x="423422" y="107302"/>
                    <a:pt x="393742" y="94692"/>
                    <a:pt x="361296" y="94692"/>
                  </a:cubicBezTo>
                  <a:cubicBezTo>
                    <a:pt x="256458" y="94692"/>
                    <a:pt x="200740" y="219675"/>
                    <a:pt x="271088" y="297561"/>
                  </a:cubicBezTo>
                  <a:cubicBezTo>
                    <a:pt x="290762" y="319342"/>
                    <a:pt x="318069" y="333717"/>
                    <a:pt x="348220" y="336954"/>
                  </a:cubicBezTo>
                  <a:cubicBezTo>
                    <a:pt x="372032" y="339509"/>
                    <a:pt x="397426" y="334977"/>
                    <a:pt x="419917" y="322601"/>
                  </a:cubicBezTo>
                  <a:lnTo>
                    <a:pt x="445607" y="348291"/>
                  </a:lnTo>
                  <a:lnTo>
                    <a:pt x="445607" y="539258"/>
                  </a:ln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50ED5A4-A363-9718-A959-DC5375F60847}"/>
                </a:ext>
              </a:extLst>
            </p:cNvPr>
            <p:cNvSpPr/>
            <p:nvPr/>
          </p:nvSpPr>
          <p:spPr>
            <a:xfrm>
              <a:off x="6349251" y="4083694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0FD2B343-1C1A-2A01-2C22-8710550CE39A}"/>
                </a:ext>
              </a:extLst>
            </p:cNvPr>
            <p:cNvSpPr/>
            <p:nvPr/>
          </p:nvSpPr>
          <p:spPr>
            <a:xfrm>
              <a:off x="6349251" y="4130632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1E50455-8F3F-9A58-7208-04E91328E8D9}"/>
                </a:ext>
              </a:extLst>
            </p:cNvPr>
            <p:cNvSpPr/>
            <p:nvPr/>
          </p:nvSpPr>
          <p:spPr>
            <a:xfrm>
              <a:off x="6349251" y="4177570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00E68382-54A7-A6AD-A36B-0FCC4ACB8EE5}"/>
                </a:ext>
              </a:extLst>
            </p:cNvPr>
            <p:cNvSpPr/>
            <p:nvPr/>
          </p:nvSpPr>
          <p:spPr>
            <a:xfrm>
              <a:off x="6349251" y="4227636"/>
              <a:ext cx="119043" cy="16558"/>
            </a:xfrm>
            <a:custGeom>
              <a:avLst/>
              <a:gdLst>
                <a:gd name="connsiteX0" fmla="*/ 8279 w 119043"/>
                <a:gd name="connsiteY0" fmla="*/ 16559 h 16558"/>
                <a:gd name="connsiteX1" fmla="*/ 110764 w 119043"/>
                <a:gd name="connsiteY1" fmla="*/ 16559 h 16558"/>
                <a:gd name="connsiteX2" fmla="*/ 119043 w 119043"/>
                <a:gd name="connsiteY2" fmla="*/ 8279 h 16558"/>
                <a:gd name="connsiteX3" fmla="*/ 110764 w 119043"/>
                <a:gd name="connsiteY3" fmla="*/ 0 h 16558"/>
                <a:gd name="connsiteX4" fmla="*/ 8279 w 119043"/>
                <a:gd name="connsiteY4" fmla="*/ 0 h 16558"/>
                <a:gd name="connsiteX5" fmla="*/ 0 w 119043"/>
                <a:gd name="connsiteY5" fmla="*/ 8279 h 16558"/>
                <a:gd name="connsiteX6" fmla="*/ 8279 w 119043"/>
                <a:gd name="connsiteY6" fmla="*/ 16559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3" h="16558">
                  <a:moveTo>
                    <a:pt x="8279" y="16559"/>
                  </a:moveTo>
                  <a:lnTo>
                    <a:pt x="110764" y="16559"/>
                  </a:lnTo>
                  <a:cubicBezTo>
                    <a:pt x="115336" y="16559"/>
                    <a:pt x="119043" y="12852"/>
                    <a:pt x="119043" y="8279"/>
                  </a:cubicBezTo>
                  <a:cubicBezTo>
                    <a:pt x="119043" y="3707"/>
                    <a:pt x="115336" y="0"/>
                    <a:pt x="110764" y="0"/>
                  </a:cubicBezTo>
                  <a:lnTo>
                    <a:pt x="8279" y="0"/>
                  </a:lnTo>
                  <a:cubicBezTo>
                    <a:pt x="3707" y="0"/>
                    <a:pt x="0" y="3707"/>
                    <a:pt x="0" y="8279"/>
                  </a:cubicBezTo>
                  <a:cubicBezTo>
                    <a:pt x="0" y="12852"/>
                    <a:pt x="3707" y="16559"/>
                    <a:pt x="8279" y="16559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16569551-8AB3-D584-81C0-AC91C17FB44C}"/>
                </a:ext>
              </a:extLst>
            </p:cNvPr>
            <p:cNvSpPr/>
            <p:nvPr/>
          </p:nvSpPr>
          <p:spPr>
            <a:xfrm>
              <a:off x="6349250" y="4289083"/>
              <a:ext cx="269554" cy="203425"/>
            </a:xfrm>
            <a:custGeom>
              <a:avLst/>
              <a:gdLst>
                <a:gd name="connsiteX0" fmla="*/ 255953 w 269554"/>
                <a:gd name="connsiteY0" fmla="*/ 186866 h 203425"/>
                <a:gd name="connsiteX1" fmla="*/ 168614 w 269554"/>
                <a:gd name="connsiteY1" fmla="*/ 186866 h 203425"/>
                <a:gd name="connsiteX2" fmla="*/ 158658 w 269554"/>
                <a:gd name="connsiteY2" fmla="*/ 164376 h 203425"/>
                <a:gd name="connsiteX3" fmla="*/ 189345 w 269554"/>
                <a:gd name="connsiteY3" fmla="*/ 94672 h 203425"/>
                <a:gd name="connsiteX4" fmla="*/ 181493 w 269554"/>
                <a:gd name="connsiteY4" fmla="*/ 56973 h 203425"/>
                <a:gd name="connsiteX5" fmla="*/ 261275 w 269554"/>
                <a:gd name="connsiteY5" fmla="*/ 56973 h 203425"/>
                <a:gd name="connsiteX6" fmla="*/ 269554 w 269554"/>
                <a:gd name="connsiteY6" fmla="*/ 48693 h 203425"/>
                <a:gd name="connsiteX7" fmla="*/ 261275 w 269554"/>
                <a:gd name="connsiteY7" fmla="*/ 40414 h 203425"/>
                <a:gd name="connsiteX8" fmla="*/ 172185 w 269554"/>
                <a:gd name="connsiteY8" fmla="*/ 40414 h 203425"/>
                <a:gd name="connsiteX9" fmla="*/ 94672 w 269554"/>
                <a:gd name="connsiteY9" fmla="*/ 0 h 203425"/>
                <a:gd name="connsiteX10" fmla="*/ 0 w 269554"/>
                <a:gd name="connsiteY10" fmla="*/ 94672 h 203425"/>
                <a:gd name="connsiteX11" fmla="*/ 94672 w 269554"/>
                <a:gd name="connsiteY11" fmla="*/ 189345 h 203425"/>
                <a:gd name="connsiteX12" fmla="*/ 145128 w 269554"/>
                <a:gd name="connsiteY12" fmla="*/ 174721 h 203425"/>
                <a:gd name="connsiteX13" fmla="*/ 155654 w 269554"/>
                <a:gd name="connsiteY13" fmla="*/ 198498 h 203425"/>
                <a:gd name="connsiteX14" fmla="*/ 163225 w 269554"/>
                <a:gd name="connsiteY14" fmla="*/ 203426 h 203425"/>
                <a:gd name="connsiteX15" fmla="*/ 255953 w 269554"/>
                <a:gd name="connsiteY15" fmla="*/ 203426 h 203425"/>
                <a:gd name="connsiteX16" fmla="*/ 264232 w 269554"/>
                <a:gd name="connsiteY16" fmla="*/ 195146 h 203425"/>
                <a:gd name="connsiteX17" fmla="*/ 255953 w 269554"/>
                <a:gd name="connsiteY17" fmla="*/ 186866 h 203425"/>
                <a:gd name="connsiteX18" fmla="*/ 86395 w 269554"/>
                <a:gd name="connsiteY18" fmla="*/ 94672 h 203425"/>
                <a:gd name="connsiteX19" fmla="*/ 86395 w 269554"/>
                <a:gd name="connsiteY19" fmla="*/ 172351 h 203425"/>
                <a:gd name="connsiteX20" fmla="*/ 16561 w 269554"/>
                <a:gd name="connsiteY20" fmla="*/ 94672 h 203425"/>
                <a:gd name="connsiteX21" fmla="*/ 94674 w 269554"/>
                <a:gd name="connsiteY21" fmla="*/ 16559 h 203425"/>
                <a:gd name="connsiteX22" fmla="*/ 150790 w 269554"/>
                <a:gd name="connsiteY22" fmla="*/ 40414 h 203425"/>
                <a:gd name="connsiteX23" fmla="*/ 137871 w 269554"/>
                <a:gd name="connsiteY23" fmla="*/ 40414 h 203425"/>
                <a:gd name="connsiteX24" fmla="*/ 129592 w 269554"/>
                <a:gd name="connsiteY24" fmla="*/ 48693 h 203425"/>
                <a:gd name="connsiteX25" fmla="*/ 137871 w 269554"/>
                <a:gd name="connsiteY25" fmla="*/ 56973 h 203425"/>
                <a:gd name="connsiteX26" fmla="*/ 163052 w 269554"/>
                <a:gd name="connsiteY26" fmla="*/ 56973 h 203425"/>
                <a:gd name="connsiteX27" fmla="*/ 172353 w 269554"/>
                <a:gd name="connsiteY27" fmla="*/ 86393 h 203425"/>
                <a:gd name="connsiteX28" fmla="*/ 94674 w 269554"/>
                <a:gd name="connsiteY28" fmla="*/ 86393 h 203425"/>
                <a:gd name="connsiteX29" fmla="*/ 86395 w 269554"/>
                <a:gd name="connsiteY29" fmla="*/ 94672 h 203425"/>
                <a:gd name="connsiteX30" fmla="*/ 102954 w 269554"/>
                <a:gd name="connsiteY30" fmla="*/ 172351 h 203425"/>
                <a:gd name="connsiteX31" fmla="*/ 102954 w 269554"/>
                <a:gd name="connsiteY31" fmla="*/ 102951 h 203425"/>
                <a:gd name="connsiteX32" fmla="*/ 172353 w 269554"/>
                <a:gd name="connsiteY32" fmla="*/ 102951 h 203425"/>
                <a:gd name="connsiteX33" fmla="*/ 151497 w 269554"/>
                <a:gd name="connsiteY33" fmla="*/ 148197 h 203425"/>
                <a:gd name="connsiteX34" fmla="*/ 145441 w 269554"/>
                <a:gd name="connsiteY34" fmla="*/ 134518 h 203425"/>
                <a:gd name="connsiteX35" fmla="*/ 134519 w 269554"/>
                <a:gd name="connsiteY35" fmla="*/ 130298 h 203425"/>
                <a:gd name="connsiteX36" fmla="*/ 130300 w 269554"/>
                <a:gd name="connsiteY36" fmla="*/ 141221 h 203425"/>
                <a:gd name="connsiteX37" fmla="*/ 138343 w 269554"/>
                <a:gd name="connsiteY37" fmla="*/ 159390 h 203425"/>
                <a:gd name="connsiteX38" fmla="*/ 102954 w 269554"/>
                <a:gd name="connsiteY38" fmla="*/ 172351 h 2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9554" h="203425">
                  <a:moveTo>
                    <a:pt x="255953" y="186866"/>
                  </a:moveTo>
                  <a:lnTo>
                    <a:pt x="168614" y="186866"/>
                  </a:lnTo>
                  <a:lnTo>
                    <a:pt x="158658" y="164376"/>
                  </a:lnTo>
                  <a:cubicBezTo>
                    <a:pt x="177507" y="147059"/>
                    <a:pt x="189345" y="122226"/>
                    <a:pt x="189345" y="94672"/>
                  </a:cubicBezTo>
                  <a:cubicBezTo>
                    <a:pt x="189345" y="81277"/>
                    <a:pt x="186533" y="68533"/>
                    <a:pt x="181493" y="56973"/>
                  </a:cubicBezTo>
                  <a:lnTo>
                    <a:pt x="261275" y="56973"/>
                  </a:lnTo>
                  <a:cubicBezTo>
                    <a:pt x="265848" y="56973"/>
                    <a:pt x="269554" y="53266"/>
                    <a:pt x="269554" y="48693"/>
                  </a:cubicBezTo>
                  <a:cubicBezTo>
                    <a:pt x="269554" y="44121"/>
                    <a:pt x="265848" y="40414"/>
                    <a:pt x="261275" y="40414"/>
                  </a:cubicBezTo>
                  <a:lnTo>
                    <a:pt x="172185" y="40414"/>
                  </a:lnTo>
                  <a:cubicBezTo>
                    <a:pt x="155045" y="16001"/>
                    <a:pt x="126701" y="0"/>
                    <a:pt x="94672" y="0"/>
                  </a:cubicBezTo>
                  <a:cubicBezTo>
                    <a:pt x="42469" y="0"/>
                    <a:pt x="0" y="42470"/>
                    <a:pt x="0" y="94672"/>
                  </a:cubicBezTo>
                  <a:cubicBezTo>
                    <a:pt x="0" y="146875"/>
                    <a:pt x="42469" y="189345"/>
                    <a:pt x="94672" y="189345"/>
                  </a:cubicBezTo>
                  <a:cubicBezTo>
                    <a:pt x="113212" y="189345"/>
                    <a:pt x="130509" y="183967"/>
                    <a:pt x="145128" y="174721"/>
                  </a:cubicBezTo>
                  <a:lnTo>
                    <a:pt x="155654" y="198498"/>
                  </a:lnTo>
                  <a:cubicBezTo>
                    <a:pt x="156980" y="201494"/>
                    <a:pt x="159948" y="203426"/>
                    <a:pt x="163225" y="203426"/>
                  </a:cubicBezTo>
                  <a:lnTo>
                    <a:pt x="255953" y="203426"/>
                  </a:lnTo>
                  <a:cubicBezTo>
                    <a:pt x="260526" y="203426"/>
                    <a:pt x="264232" y="199719"/>
                    <a:pt x="264232" y="195146"/>
                  </a:cubicBezTo>
                  <a:cubicBezTo>
                    <a:pt x="264232" y="190574"/>
                    <a:pt x="260526" y="186866"/>
                    <a:pt x="255953" y="186866"/>
                  </a:cubicBezTo>
                  <a:close/>
                  <a:moveTo>
                    <a:pt x="86395" y="94672"/>
                  </a:moveTo>
                  <a:lnTo>
                    <a:pt x="86395" y="172351"/>
                  </a:lnTo>
                  <a:cubicBezTo>
                    <a:pt x="47202" y="168201"/>
                    <a:pt x="16561" y="134947"/>
                    <a:pt x="16561" y="94672"/>
                  </a:cubicBezTo>
                  <a:cubicBezTo>
                    <a:pt x="16561" y="51600"/>
                    <a:pt x="51602" y="16559"/>
                    <a:pt x="94674" y="16559"/>
                  </a:cubicBezTo>
                  <a:cubicBezTo>
                    <a:pt x="116682" y="16559"/>
                    <a:pt x="136579" y="25721"/>
                    <a:pt x="150790" y="40414"/>
                  </a:cubicBezTo>
                  <a:lnTo>
                    <a:pt x="137871" y="40414"/>
                  </a:lnTo>
                  <a:cubicBezTo>
                    <a:pt x="133299" y="40414"/>
                    <a:pt x="129592" y="44121"/>
                    <a:pt x="129592" y="48693"/>
                  </a:cubicBezTo>
                  <a:cubicBezTo>
                    <a:pt x="129592" y="53266"/>
                    <a:pt x="133299" y="56973"/>
                    <a:pt x="137871" y="56973"/>
                  </a:cubicBezTo>
                  <a:lnTo>
                    <a:pt x="163052" y="56973"/>
                  </a:lnTo>
                  <a:cubicBezTo>
                    <a:pt x="167978" y="65870"/>
                    <a:pt x="171234" y="75815"/>
                    <a:pt x="172353" y="86393"/>
                  </a:cubicBezTo>
                  <a:lnTo>
                    <a:pt x="94674" y="86393"/>
                  </a:lnTo>
                  <a:cubicBezTo>
                    <a:pt x="90101" y="86393"/>
                    <a:pt x="86395" y="90100"/>
                    <a:pt x="86395" y="94672"/>
                  </a:cubicBezTo>
                  <a:close/>
                  <a:moveTo>
                    <a:pt x="102954" y="172351"/>
                  </a:moveTo>
                  <a:lnTo>
                    <a:pt x="102954" y="102951"/>
                  </a:lnTo>
                  <a:lnTo>
                    <a:pt x="172353" y="102951"/>
                  </a:lnTo>
                  <a:cubicBezTo>
                    <a:pt x="170508" y="120372"/>
                    <a:pt x="162903" y="136095"/>
                    <a:pt x="151497" y="148197"/>
                  </a:cubicBezTo>
                  <a:lnTo>
                    <a:pt x="145441" y="134518"/>
                  </a:lnTo>
                  <a:cubicBezTo>
                    <a:pt x="143590" y="130336"/>
                    <a:pt x="138698" y="128447"/>
                    <a:pt x="134519" y="130298"/>
                  </a:cubicBezTo>
                  <a:cubicBezTo>
                    <a:pt x="130337" y="132149"/>
                    <a:pt x="128448" y="137039"/>
                    <a:pt x="130300" y="141221"/>
                  </a:cubicBezTo>
                  <a:lnTo>
                    <a:pt x="138343" y="159390"/>
                  </a:lnTo>
                  <a:cubicBezTo>
                    <a:pt x="128024" y="166374"/>
                    <a:pt x="115964" y="170973"/>
                    <a:pt x="102954" y="172351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5AC05344-144C-EC61-AFF7-96D1A8975944}"/>
                </a:ext>
              </a:extLst>
            </p:cNvPr>
            <p:cNvSpPr/>
            <p:nvPr/>
          </p:nvSpPr>
          <p:spPr>
            <a:xfrm>
              <a:off x="6602246" y="4375476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1AEFEE6-0A56-5724-102D-21B96A447748}"/>
                </a:ext>
              </a:extLst>
            </p:cNvPr>
            <p:cNvSpPr/>
            <p:nvPr/>
          </p:nvSpPr>
          <p:spPr>
            <a:xfrm>
              <a:off x="6602246" y="4416155"/>
              <a:ext cx="69374" cy="16558"/>
            </a:xfrm>
            <a:custGeom>
              <a:avLst/>
              <a:gdLst>
                <a:gd name="connsiteX0" fmla="*/ 61096 w 69374"/>
                <a:gd name="connsiteY0" fmla="*/ 0 h 16558"/>
                <a:gd name="connsiteX1" fmla="*/ 8279 w 69374"/>
                <a:gd name="connsiteY1" fmla="*/ 0 h 16558"/>
                <a:gd name="connsiteX2" fmla="*/ 0 w 69374"/>
                <a:gd name="connsiteY2" fmla="*/ 8279 h 16558"/>
                <a:gd name="connsiteX3" fmla="*/ 8279 w 69374"/>
                <a:gd name="connsiteY3" fmla="*/ 16559 h 16558"/>
                <a:gd name="connsiteX4" fmla="*/ 61096 w 69374"/>
                <a:gd name="connsiteY4" fmla="*/ 16559 h 16558"/>
                <a:gd name="connsiteX5" fmla="*/ 69375 w 69374"/>
                <a:gd name="connsiteY5" fmla="*/ 8279 h 16558"/>
                <a:gd name="connsiteX6" fmla="*/ 61096 w 69374"/>
                <a:gd name="connsiteY6" fmla="*/ 0 h 1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74" h="16558">
                  <a:moveTo>
                    <a:pt x="61096" y="0"/>
                  </a:moveTo>
                  <a:lnTo>
                    <a:pt x="8279" y="0"/>
                  </a:lnTo>
                  <a:cubicBezTo>
                    <a:pt x="3706" y="0"/>
                    <a:pt x="0" y="3707"/>
                    <a:pt x="0" y="8279"/>
                  </a:cubicBezTo>
                  <a:cubicBezTo>
                    <a:pt x="0" y="12852"/>
                    <a:pt x="3706" y="16559"/>
                    <a:pt x="8279" y="16559"/>
                  </a:cubicBezTo>
                  <a:lnTo>
                    <a:pt x="61096" y="16559"/>
                  </a:lnTo>
                  <a:cubicBezTo>
                    <a:pt x="65669" y="16559"/>
                    <a:pt x="69375" y="12852"/>
                    <a:pt x="69375" y="8279"/>
                  </a:cubicBezTo>
                  <a:cubicBezTo>
                    <a:pt x="69375" y="3707"/>
                    <a:pt x="65669" y="0"/>
                    <a:pt x="61096" y="0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4B833F29-AA78-AE18-12A7-3229D9253196}"/>
                </a:ext>
              </a:extLst>
            </p:cNvPr>
            <p:cNvSpPr/>
            <p:nvPr/>
          </p:nvSpPr>
          <p:spPr>
            <a:xfrm>
              <a:off x="6571030" y="4149375"/>
              <a:ext cx="85247" cy="68289"/>
            </a:xfrm>
            <a:custGeom>
              <a:avLst/>
              <a:gdLst>
                <a:gd name="connsiteX0" fmla="*/ 71228 w 85247"/>
                <a:gd name="connsiteY0" fmla="*/ 2313 h 68289"/>
                <a:gd name="connsiteX1" fmla="*/ 25619 w 85247"/>
                <a:gd name="connsiteY1" fmla="*/ 46205 h 68289"/>
                <a:gd name="connsiteX2" fmla="*/ 15702 w 85247"/>
                <a:gd name="connsiteY2" fmla="*/ 26162 h 68289"/>
                <a:gd name="connsiteX3" fmla="*/ 4610 w 85247"/>
                <a:gd name="connsiteY3" fmla="*/ 22413 h 68289"/>
                <a:gd name="connsiteX4" fmla="*/ 861 w 85247"/>
                <a:gd name="connsiteY4" fmla="*/ 33505 h 68289"/>
                <a:gd name="connsiteX5" fmla="*/ 15792 w 85247"/>
                <a:gd name="connsiteY5" fmla="*/ 63682 h 68289"/>
                <a:gd name="connsiteX6" fmla="*/ 28953 w 85247"/>
                <a:gd name="connsiteY6" fmla="*/ 65976 h 68289"/>
                <a:gd name="connsiteX7" fmla="*/ 82709 w 85247"/>
                <a:gd name="connsiteY7" fmla="*/ 14244 h 68289"/>
                <a:gd name="connsiteX8" fmla="*/ 82934 w 85247"/>
                <a:gd name="connsiteY8" fmla="*/ 2537 h 68289"/>
                <a:gd name="connsiteX9" fmla="*/ 71228 w 85247"/>
                <a:gd name="connsiteY9" fmla="*/ 2313 h 6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47" h="68289">
                  <a:moveTo>
                    <a:pt x="71228" y="2313"/>
                  </a:moveTo>
                  <a:lnTo>
                    <a:pt x="25619" y="46205"/>
                  </a:lnTo>
                  <a:lnTo>
                    <a:pt x="15702" y="26162"/>
                  </a:lnTo>
                  <a:cubicBezTo>
                    <a:pt x="13674" y="22063"/>
                    <a:pt x="8708" y="20385"/>
                    <a:pt x="4610" y="22413"/>
                  </a:cubicBezTo>
                  <a:cubicBezTo>
                    <a:pt x="511" y="24441"/>
                    <a:pt x="-1167" y="29408"/>
                    <a:pt x="861" y="33505"/>
                  </a:cubicBezTo>
                  <a:lnTo>
                    <a:pt x="15792" y="63682"/>
                  </a:lnTo>
                  <a:cubicBezTo>
                    <a:pt x="18263" y="68678"/>
                    <a:pt x="24909" y="69869"/>
                    <a:pt x="28953" y="65976"/>
                  </a:cubicBezTo>
                  <a:lnTo>
                    <a:pt x="82709" y="14244"/>
                  </a:lnTo>
                  <a:cubicBezTo>
                    <a:pt x="86004" y="11073"/>
                    <a:pt x="86104" y="5832"/>
                    <a:pt x="82934" y="2537"/>
                  </a:cubicBezTo>
                  <a:cubicBezTo>
                    <a:pt x="79762" y="-757"/>
                    <a:pt x="74522" y="-856"/>
                    <a:pt x="71228" y="2313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AutoShape 10">
            <a:extLst>
              <a:ext uri="{FF2B5EF4-FFF2-40B4-BE49-F238E27FC236}">
                <a16:creationId xmlns:a16="http://schemas.microsoft.com/office/drawing/2014/main" id="{17F50BE5-C94F-D933-067F-49525B825A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749710"/>
            <a:ext cx="2831690" cy="283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C2D1ABE-95B3-798A-2FD0-DE642295B0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9806" y="1446272"/>
            <a:ext cx="9124029" cy="450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76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7037&quot;&gt;&lt;version val=&quot;32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4.15189403910000010001E+00&quot;&gt;&lt;m_msothmcolidx val=&quot;0&quot;/&gt;&lt;m_rgb r=&quot;EE&quot; g=&quot;0C&quot; b=&quot;4D&quot;/&gt;&lt;/elem&gt;&lt;elem m_fUsage=&quot;1.00000000000000000000E+00&quot;&gt;&lt;m_msothmcolidx val=&quot;0&quot;/&gt;&lt;m_rgb r=&quot;B0&quot; g=&quot;D5&quot; b=&quot;FD&quot;/&gt;&lt;/elem&gt;&lt;elem m_fUsage=&quot;9.00000000000000022204E-01&quot;&gt;&lt;m_msothmcolidx val=&quot;0&quot;/&gt;&lt;m_rgb r=&quot;8D&quot; g=&quot;E1&quot; b=&quot;00&quot;/&gt;&lt;/elem&gt;&lt;elem m_fUsage=&quot;8.10000000000000053291E-01&quot;&gt;&lt;m_msothmcolidx val=&quot;0&quot;/&gt;&lt;m_rgb r=&quot;C7&quot; g=&quot;E1&quot; b=&quot;F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ngX360">
  <a:themeElements>
    <a:clrScheme name="EngX360">
      <a:dk1>
        <a:srgbClr val="222222"/>
      </a:dk1>
      <a:lt1>
        <a:srgbClr val="FFFFFF"/>
      </a:lt1>
      <a:dk2>
        <a:srgbClr val="464547"/>
      </a:dk2>
      <a:lt2>
        <a:srgbClr val="CCCCCC"/>
      </a:lt2>
      <a:accent1>
        <a:srgbClr val="38C2D6"/>
      </a:accent1>
      <a:accent2>
        <a:srgbClr val="0289CD"/>
      </a:accent2>
      <a:accent3>
        <a:srgbClr val="FEBE05"/>
      </a:accent3>
      <a:accent4>
        <a:srgbClr val="88CC00"/>
      </a:accent4>
      <a:accent5>
        <a:srgbClr val="263851"/>
      </a:accent5>
      <a:accent6>
        <a:srgbClr val="E53B2E"/>
      </a:accent6>
      <a:hlink>
        <a:srgbClr val="000000"/>
      </a:hlink>
      <a:folHlink>
        <a:srgbClr val="000000"/>
      </a:folHlink>
    </a:clrScheme>
    <a:fontScheme name="EngX360 Fonts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ngX360+EngX-template-2021" id="{33E08B21-9B78-4248-8245-082C3E09FA52}" vid="{D8760A2A-D0A7-A74B-8A6C-E20C0A0C2DEB}"/>
    </a:ext>
  </a:extLst>
</a:theme>
</file>

<file path=ppt/theme/theme2.xml><?xml version="1.0" encoding="utf-8"?>
<a:theme xmlns:a="http://schemas.openxmlformats.org/drawingml/2006/main" name="2_шаблон">
  <a:themeElements>
    <a:clrScheme name="Самолет голубой">
      <a:dk1>
        <a:srgbClr val="2C2C2C"/>
      </a:dk1>
      <a:lt1>
        <a:srgbClr val="FFFFFF"/>
      </a:lt1>
      <a:dk2>
        <a:srgbClr val="2C2C2C"/>
      </a:dk2>
      <a:lt2>
        <a:srgbClr val="D5D5D5"/>
      </a:lt2>
      <a:accent1>
        <a:srgbClr val="067AF8"/>
      </a:accent1>
      <a:accent2>
        <a:srgbClr val="689DE3"/>
      </a:accent2>
      <a:accent3>
        <a:srgbClr val="97AFCF"/>
      </a:accent3>
      <a:accent4>
        <a:srgbClr val="D3DCE8"/>
      </a:accent4>
      <a:accent5>
        <a:srgbClr val="D3DCE9"/>
      </a:accent5>
      <a:accent6>
        <a:srgbClr val="DCE8F4"/>
      </a:accent6>
      <a:hlink>
        <a:srgbClr val="0070C0"/>
      </a:hlink>
      <a:folHlink>
        <a:srgbClr val="0070C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400" b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000000"/>
          </a:solidFill>
          <a:prstDash val="solid"/>
          <a:headEnd type="none" w="lg" len="med"/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231</TotalTime>
  <Words>576</Words>
  <Application>Microsoft Macintosh PowerPoint</Application>
  <PresentationFormat>Широкоэкранный</PresentationFormat>
  <Paragraphs>102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5" baseType="lpstr">
      <vt:lpstr>Arial</vt:lpstr>
      <vt:lpstr>Calibri</vt:lpstr>
      <vt:lpstr>Calibri Light</vt:lpstr>
      <vt:lpstr>CoFo Sans Medium</vt:lpstr>
      <vt:lpstr>CoFo Sans Regular</vt:lpstr>
      <vt:lpstr>Courier New</vt:lpstr>
      <vt:lpstr>Helvetica</vt:lpstr>
      <vt:lpstr>Helvetica Neue</vt:lpstr>
      <vt:lpstr>KaTeX_Math</vt:lpstr>
      <vt:lpstr>Linux Libertine</vt:lpstr>
      <vt:lpstr>Lucida Grande</vt:lpstr>
      <vt:lpstr>Lucida Grande Bold</vt:lpstr>
      <vt:lpstr>SB Sans Display Light</vt:lpstr>
      <vt:lpstr>Söhne</vt:lpstr>
      <vt:lpstr>System Font Regular</vt:lpstr>
      <vt:lpstr>1_EngX360</vt:lpstr>
      <vt:lpstr>2_шаблон</vt:lpstr>
      <vt:lpstr>Слайд think-cell</vt:lpstr>
      <vt:lpstr>Контекстуальные эмбеддинги для задачи метчинга товаров</vt:lpstr>
      <vt:lpstr>50 оттенков арматуры</vt:lpstr>
      <vt:lpstr>Может быть классификация?</vt:lpstr>
      <vt:lpstr>Embeddings everywhere</vt:lpstr>
      <vt:lpstr>Хронология </vt:lpstr>
      <vt:lpstr>Метчинг на эмбеддингах</vt:lpstr>
      <vt:lpstr>Metric Learning</vt:lpstr>
      <vt:lpstr>Расстояние Махаланобиса </vt:lpstr>
      <vt:lpstr>Расстояние Махаланобиса </vt:lpstr>
      <vt:lpstr>Немного матана </vt:lpstr>
      <vt:lpstr>Triplet loss </vt:lpstr>
      <vt:lpstr>Как учить</vt:lpstr>
      <vt:lpstr>MultipleNegativesRankingLoss</vt:lpstr>
      <vt:lpstr>Как увеличить качество</vt:lpstr>
      <vt:lpstr>Hard negatives</vt:lpstr>
      <vt:lpstr>Мой канал про nlp: nlp_daily</vt:lpstr>
      <vt:lpstr>Поделись впечатлениями  о семинар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antemir A.</dc:creator>
  <cp:lastModifiedBy>Microsoft Office User</cp:lastModifiedBy>
  <cp:revision>2064</cp:revision>
  <cp:lastPrinted>2020-09-20T12:00:42Z</cp:lastPrinted>
  <dcterms:created xsi:type="dcterms:W3CDTF">2020-09-15T13:07:25Z</dcterms:created>
  <dcterms:modified xsi:type="dcterms:W3CDTF">2024-04-04T05:34:36Z</dcterms:modified>
</cp:coreProperties>
</file>